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sldIdLst>
    <p:sldId id="265" r:id="rId2"/>
    <p:sldId id="266" r:id="rId3"/>
    <p:sldId id="269" r:id="rId4"/>
    <p:sldId id="267" r:id="rId5"/>
    <p:sldId id="270" r:id="rId6"/>
    <p:sldId id="271" r:id="rId7"/>
    <p:sldId id="272" r:id="rId8"/>
    <p:sldId id="273" r:id="rId9"/>
  </p:sldIdLst>
  <p:sldSz cx="12192000" cy="6858000"/>
  <p:notesSz cx="6858000" cy="9144000"/>
  <p:custDataLst>
    <p:tags r:id="rId10"/>
  </p:custDataLst>
  <p:defaultTex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94660"/>
  </p:normalViewPr>
  <p:slideViewPr>
    <p:cSldViewPr snapToGrid="0">
      <p:cViewPr varScale="1">
        <p:scale>
          <a:sx n="59" d="100"/>
          <a:sy n="59" d="100"/>
        </p:scale>
        <p:origin x="964" y="5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presProps" Target="presProps.xml"/><Relationship Id="rId5" Type="http://schemas.openxmlformats.org/officeDocument/2006/relationships/slide" Target="slides/slide4.xml"/><Relationship Id="rId15" Type="http://schemas.microsoft.com/office/2016/11/relationships/changesInfo" Target="changesInfos/changesInfo1.xml"/><Relationship Id="rId10"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ablo Ignacio Aguirre Muñoz" userId="a8473d96-f1aa-4c65-bd87-43f207d829a7" providerId="ADAL" clId="{C9C08E5F-D1DD-4EB7-9998-1BA91BAC664E}"/>
    <pc:docChg chg="undo custSel addSld delSld modSld sldOrd">
      <pc:chgData name="Pablo Ignacio Aguirre Muñoz" userId="a8473d96-f1aa-4c65-bd87-43f207d829a7" providerId="ADAL" clId="{C9C08E5F-D1DD-4EB7-9998-1BA91BAC664E}" dt="2024-09-16T00:30:15.358" v="3341" actId="47"/>
      <pc:docMkLst>
        <pc:docMk/>
      </pc:docMkLst>
      <pc:sldChg chg="addSp modSp del mod">
        <pc:chgData name="Pablo Ignacio Aguirre Muñoz" userId="a8473d96-f1aa-4c65-bd87-43f207d829a7" providerId="ADAL" clId="{C9C08E5F-D1DD-4EB7-9998-1BA91BAC664E}" dt="2024-08-31T14:34:03.085" v="1962" actId="47"/>
        <pc:sldMkLst>
          <pc:docMk/>
          <pc:sldMk cId="174323084" sldId="256"/>
        </pc:sldMkLst>
        <pc:spChg chg="add mod">
          <ac:chgData name="Pablo Ignacio Aguirre Muñoz" userId="a8473d96-f1aa-4c65-bd87-43f207d829a7" providerId="ADAL" clId="{C9C08E5F-D1DD-4EB7-9998-1BA91BAC664E}" dt="2024-08-15T21:08:26.720" v="346" actId="20577"/>
          <ac:spMkLst>
            <pc:docMk/>
            <pc:sldMk cId="174323084" sldId="256"/>
            <ac:spMk id="5" creationId="{4C47463C-CD3A-A6D4-B150-3B57959C4E42}"/>
          </ac:spMkLst>
        </pc:spChg>
        <pc:spChg chg="add mod">
          <ac:chgData name="Pablo Ignacio Aguirre Muñoz" userId="a8473d96-f1aa-4c65-bd87-43f207d829a7" providerId="ADAL" clId="{C9C08E5F-D1DD-4EB7-9998-1BA91BAC664E}" dt="2024-08-15T21:06:51.180" v="243" actId="20577"/>
          <ac:spMkLst>
            <pc:docMk/>
            <pc:sldMk cId="174323084" sldId="256"/>
            <ac:spMk id="6" creationId="{9E25D44D-34D0-A112-48FA-F809DE276D27}"/>
          </ac:spMkLst>
        </pc:spChg>
        <pc:spChg chg="mod">
          <ac:chgData name="Pablo Ignacio Aguirre Muñoz" userId="a8473d96-f1aa-4c65-bd87-43f207d829a7" providerId="ADAL" clId="{C9C08E5F-D1DD-4EB7-9998-1BA91BAC664E}" dt="2024-08-15T21:03:49.780" v="10" actId="20577"/>
          <ac:spMkLst>
            <pc:docMk/>
            <pc:sldMk cId="174323084" sldId="256"/>
            <ac:spMk id="11" creationId="{1A21C36B-643C-CAD6-D96C-4CB2EF55B914}"/>
          </ac:spMkLst>
        </pc:spChg>
        <pc:spChg chg="mod">
          <ac:chgData name="Pablo Ignacio Aguirre Muñoz" userId="a8473d96-f1aa-4c65-bd87-43f207d829a7" providerId="ADAL" clId="{C9C08E5F-D1DD-4EB7-9998-1BA91BAC664E}" dt="2024-08-15T21:03:53.546" v="11" actId="1076"/>
          <ac:spMkLst>
            <pc:docMk/>
            <pc:sldMk cId="174323084" sldId="256"/>
            <ac:spMk id="13" creationId="{975B58DF-A472-A7A4-7679-A327A85DC5DE}"/>
          </ac:spMkLst>
        </pc:spChg>
        <pc:spChg chg="mod">
          <ac:chgData name="Pablo Ignacio Aguirre Muñoz" userId="a8473d96-f1aa-4c65-bd87-43f207d829a7" providerId="ADAL" clId="{C9C08E5F-D1DD-4EB7-9998-1BA91BAC664E}" dt="2024-08-15T21:12:34.374" v="347" actId="15"/>
          <ac:spMkLst>
            <pc:docMk/>
            <pc:sldMk cId="174323084" sldId="256"/>
            <ac:spMk id="14" creationId="{53424429-EF34-6C00-B976-4B1E3AF9110E}"/>
          </ac:spMkLst>
        </pc:spChg>
        <pc:picChg chg="add mod">
          <ac:chgData name="Pablo Ignacio Aguirre Muñoz" userId="a8473d96-f1aa-4c65-bd87-43f207d829a7" providerId="ADAL" clId="{C9C08E5F-D1DD-4EB7-9998-1BA91BAC664E}" dt="2024-08-31T12:48:07.986" v="689"/>
          <ac:picMkLst>
            <pc:docMk/>
            <pc:sldMk cId="174323084" sldId="256"/>
            <ac:picMk id="7" creationId="{E1B3BE58-293D-76C4-AB55-30075EA229E9}"/>
          </ac:picMkLst>
        </pc:picChg>
        <pc:picChg chg="add mod">
          <ac:chgData name="Pablo Ignacio Aguirre Muñoz" userId="a8473d96-f1aa-4c65-bd87-43f207d829a7" providerId="ADAL" clId="{C9C08E5F-D1DD-4EB7-9998-1BA91BAC664E}" dt="2024-08-31T12:48:07.986" v="689"/>
          <ac:picMkLst>
            <pc:docMk/>
            <pc:sldMk cId="174323084" sldId="256"/>
            <ac:picMk id="8" creationId="{2919A1C7-D12D-4F3A-A4D4-D9CAFF7EB181}"/>
          </ac:picMkLst>
        </pc:picChg>
      </pc:sldChg>
      <pc:sldChg chg="addSp delSp modSp new del mod ord">
        <pc:chgData name="Pablo Ignacio Aguirre Muñoz" userId="a8473d96-f1aa-4c65-bd87-43f207d829a7" providerId="ADAL" clId="{C9C08E5F-D1DD-4EB7-9998-1BA91BAC664E}" dt="2024-09-11T02:55:36.012" v="1968" actId="47"/>
        <pc:sldMkLst>
          <pc:docMk/>
          <pc:sldMk cId="212900235" sldId="257"/>
        </pc:sldMkLst>
        <pc:spChg chg="mod">
          <ac:chgData name="Pablo Ignacio Aguirre Muñoz" userId="a8473d96-f1aa-4c65-bd87-43f207d829a7" providerId="ADAL" clId="{C9C08E5F-D1DD-4EB7-9998-1BA91BAC664E}" dt="2024-08-31T12:49:48.719" v="1033" actId="948"/>
          <ac:spMkLst>
            <pc:docMk/>
            <pc:sldMk cId="212900235" sldId="257"/>
            <ac:spMk id="2" creationId="{947267EF-9FE8-1406-BC39-1E8E5B19A7AC}"/>
          </ac:spMkLst>
        </pc:spChg>
        <pc:spChg chg="add del mod modVis">
          <ac:chgData name="Pablo Ignacio Aguirre Muñoz" userId="a8473d96-f1aa-4c65-bd87-43f207d829a7" providerId="ADAL" clId="{C9C08E5F-D1DD-4EB7-9998-1BA91BAC664E}" dt="2024-08-30T01:46:20.127" v="471"/>
          <ac:spMkLst>
            <pc:docMk/>
            <pc:sldMk cId="212900235" sldId="257"/>
            <ac:spMk id="3" creationId="{14DF041D-AF1C-6E95-3682-1475024ED284}"/>
          </ac:spMkLst>
        </pc:spChg>
        <pc:spChg chg="del">
          <ac:chgData name="Pablo Ignacio Aguirre Muñoz" userId="a8473d96-f1aa-4c65-bd87-43f207d829a7" providerId="ADAL" clId="{C9C08E5F-D1DD-4EB7-9998-1BA91BAC664E}" dt="2024-08-15T21:13:43.990" v="375"/>
          <ac:spMkLst>
            <pc:docMk/>
            <pc:sldMk cId="212900235" sldId="257"/>
            <ac:spMk id="3" creationId="{688FC030-EB8F-A3FA-8D69-0F7CC62CE990}"/>
          </ac:spMkLst>
        </pc:spChg>
        <pc:spChg chg="add mod">
          <ac:chgData name="Pablo Ignacio Aguirre Muñoz" userId="a8473d96-f1aa-4c65-bd87-43f207d829a7" providerId="ADAL" clId="{C9C08E5F-D1DD-4EB7-9998-1BA91BAC664E}" dt="2024-09-11T02:54:52.506" v="1967" actId="1076"/>
          <ac:spMkLst>
            <pc:docMk/>
            <pc:sldMk cId="212900235" sldId="257"/>
            <ac:spMk id="5" creationId="{1700E61D-9FDF-0C46-8A1E-AA419DD622E9}"/>
          </ac:spMkLst>
        </pc:spChg>
        <pc:spChg chg="add mod">
          <ac:chgData name="Pablo Ignacio Aguirre Muñoz" userId="a8473d96-f1aa-4c65-bd87-43f207d829a7" providerId="ADAL" clId="{C9C08E5F-D1DD-4EB7-9998-1BA91BAC664E}" dt="2024-08-15T21:14:21.836" v="385" actId="20577"/>
          <ac:spMkLst>
            <pc:docMk/>
            <pc:sldMk cId="212900235" sldId="257"/>
            <ac:spMk id="7" creationId="{8568FA4B-A829-BF48-B781-696FE412D613}"/>
          </ac:spMkLst>
        </pc:spChg>
        <pc:spChg chg="add mod">
          <ac:chgData name="Pablo Ignacio Aguirre Muñoz" userId="a8473d96-f1aa-4c65-bd87-43f207d829a7" providerId="ADAL" clId="{C9C08E5F-D1DD-4EB7-9998-1BA91BAC664E}" dt="2024-08-31T12:46:59.114" v="648" actId="1076"/>
          <ac:spMkLst>
            <pc:docMk/>
            <pc:sldMk cId="212900235" sldId="257"/>
            <ac:spMk id="7" creationId="{9F2D3C0D-528A-7DC9-4D51-4EF759D8758D}"/>
          </ac:spMkLst>
        </pc:spChg>
        <pc:spChg chg="add del mod modVis">
          <ac:chgData name="Pablo Ignacio Aguirre Muñoz" userId="a8473d96-f1aa-4c65-bd87-43f207d829a7" providerId="ADAL" clId="{C9C08E5F-D1DD-4EB7-9998-1BA91BAC664E}" dt="2024-08-31T12:47:02.389" v="671"/>
          <ac:spMkLst>
            <pc:docMk/>
            <pc:sldMk cId="212900235" sldId="257"/>
            <ac:spMk id="8" creationId="{407B670B-8B50-854B-EAC2-6286C38DBC94}"/>
          </ac:spMkLst>
        </pc:spChg>
        <pc:spChg chg="add mod">
          <ac:chgData name="Pablo Ignacio Aguirre Muñoz" userId="a8473d96-f1aa-4c65-bd87-43f207d829a7" providerId="ADAL" clId="{C9C08E5F-D1DD-4EB7-9998-1BA91BAC664E}" dt="2024-08-31T12:46:52.003" v="646" actId="1076"/>
          <ac:spMkLst>
            <pc:docMk/>
            <pc:sldMk cId="212900235" sldId="257"/>
            <ac:spMk id="9" creationId="{7A1081AB-78B3-F30B-9BBD-000A9E1D0962}"/>
          </ac:spMkLst>
        </pc:spChg>
        <pc:spChg chg="add del mod modVis">
          <ac:chgData name="Pablo Ignacio Aguirre Muñoz" userId="a8473d96-f1aa-4c65-bd87-43f207d829a7" providerId="ADAL" clId="{C9C08E5F-D1DD-4EB7-9998-1BA91BAC664E}" dt="2024-08-31T12:48:15.022" v="712"/>
          <ac:spMkLst>
            <pc:docMk/>
            <pc:sldMk cId="212900235" sldId="257"/>
            <ac:spMk id="12" creationId="{5727E7E1-1E65-CA76-C0A0-49A83B9D6AB6}"/>
          </ac:spMkLst>
        </pc:spChg>
        <pc:spChg chg="add del mod modVis">
          <ac:chgData name="Pablo Ignacio Aguirre Muñoz" userId="a8473d96-f1aa-4c65-bd87-43f207d829a7" providerId="ADAL" clId="{C9C08E5F-D1DD-4EB7-9998-1BA91BAC664E}" dt="2024-08-31T12:49:48.725" v="1054"/>
          <ac:spMkLst>
            <pc:docMk/>
            <pc:sldMk cId="212900235" sldId="257"/>
            <ac:spMk id="13" creationId="{AF03C5B6-6A64-1778-9859-4096F8A61888}"/>
          </ac:spMkLst>
        </pc:spChg>
        <pc:graphicFrameChg chg="add mod ord modVis">
          <ac:chgData name="Pablo Ignacio Aguirre Muñoz" userId="a8473d96-f1aa-4c65-bd87-43f207d829a7" providerId="ADAL" clId="{C9C08E5F-D1DD-4EB7-9998-1BA91BAC664E}" dt="2024-08-31T12:49:48.738" v="1056"/>
          <ac:graphicFrameMkLst>
            <pc:docMk/>
            <pc:sldMk cId="212900235" sldId="257"/>
            <ac:graphicFrameMk id="4" creationId="{8087ED52-6F9B-B2AB-70BF-ECC7EDADCDA9}"/>
          </ac:graphicFrameMkLst>
        </pc:graphicFrameChg>
        <pc:picChg chg="add mod">
          <ac:chgData name="Pablo Ignacio Aguirre Muñoz" userId="a8473d96-f1aa-4c65-bd87-43f207d829a7" providerId="ADAL" clId="{C9C08E5F-D1DD-4EB7-9998-1BA91BAC664E}" dt="2024-08-31T12:47:09.273" v="676" actId="14100"/>
          <ac:picMkLst>
            <pc:docMk/>
            <pc:sldMk cId="212900235" sldId="257"/>
            <ac:picMk id="6" creationId="{EC93B890-3DA1-CE24-E1D7-752E459F7E77}"/>
          </ac:picMkLst>
        </pc:picChg>
        <pc:picChg chg="add mod">
          <ac:chgData name="Pablo Ignacio Aguirre Muñoz" userId="a8473d96-f1aa-4c65-bd87-43f207d829a7" providerId="ADAL" clId="{C9C08E5F-D1DD-4EB7-9998-1BA91BAC664E}" dt="2024-08-31T12:47:56.083" v="683" actId="1076"/>
          <ac:picMkLst>
            <pc:docMk/>
            <pc:sldMk cId="212900235" sldId="257"/>
            <ac:picMk id="11" creationId="{C95AF014-9E35-E2F1-5176-F48A603979CA}"/>
          </ac:picMkLst>
        </pc:picChg>
      </pc:sldChg>
      <pc:sldChg chg="addSp delSp modSp new del mod">
        <pc:chgData name="Pablo Ignacio Aguirre Muñoz" userId="a8473d96-f1aa-4c65-bd87-43f207d829a7" providerId="ADAL" clId="{C9C08E5F-D1DD-4EB7-9998-1BA91BAC664E}" dt="2024-08-31T14:33:52.935" v="1960" actId="47"/>
        <pc:sldMkLst>
          <pc:docMk/>
          <pc:sldMk cId="3763905385" sldId="258"/>
        </pc:sldMkLst>
        <pc:spChg chg="mod">
          <ac:chgData name="Pablo Ignacio Aguirre Muñoz" userId="a8473d96-f1aa-4c65-bd87-43f207d829a7" providerId="ADAL" clId="{C9C08E5F-D1DD-4EB7-9998-1BA91BAC664E}" dt="2024-08-31T13:39:54.749" v="1506" actId="948"/>
          <ac:spMkLst>
            <pc:docMk/>
            <pc:sldMk cId="3763905385" sldId="258"/>
            <ac:spMk id="2" creationId="{CEA157E3-D998-050A-3544-6CC2F31F7913}"/>
          </ac:spMkLst>
        </pc:spChg>
        <pc:spChg chg="del">
          <ac:chgData name="Pablo Ignacio Aguirre Muñoz" userId="a8473d96-f1aa-4c65-bd87-43f207d829a7" providerId="ADAL" clId="{C9C08E5F-D1DD-4EB7-9998-1BA91BAC664E}" dt="2024-08-15T21:15:38.134" v="408"/>
          <ac:spMkLst>
            <pc:docMk/>
            <pc:sldMk cId="3763905385" sldId="258"/>
            <ac:spMk id="3" creationId="{9EE86BB3-8E39-24B6-DACB-D9CD908EE49C}"/>
          </ac:spMkLst>
        </pc:spChg>
        <pc:spChg chg="add mod">
          <ac:chgData name="Pablo Ignacio Aguirre Muñoz" userId="a8473d96-f1aa-4c65-bd87-43f207d829a7" providerId="ADAL" clId="{C9C08E5F-D1DD-4EB7-9998-1BA91BAC664E}" dt="2024-08-15T21:16:35.878" v="438" actId="1076"/>
          <ac:spMkLst>
            <pc:docMk/>
            <pc:sldMk cId="3763905385" sldId="258"/>
            <ac:spMk id="5" creationId="{7D3D3B13-1DE8-DC26-96FF-6ECD51FE178B}"/>
          </ac:spMkLst>
        </pc:spChg>
        <pc:spChg chg="add del mod modVis">
          <ac:chgData name="Pablo Ignacio Aguirre Muñoz" userId="a8473d96-f1aa-4c65-bd87-43f207d829a7" providerId="ADAL" clId="{C9C08E5F-D1DD-4EB7-9998-1BA91BAC664E}" dt="2024-08-31T13:39:30.709" v="1316"/>
          <ac:spMkLst>
            <pc:docMk/>
            <pc:sldMk cId="3763905385" sldId="258"/>
            <ac:spMk id="8" creationId="{C4D7ACAF-B144-2FC4-2C9C-E60693F254F3}"/>
          </ac:spMkLst>
        </pc:spChg>
        <pc:spChg chg="add del mod modVis">
          <ac:chgData name="Pablo Ignacio Aguirre Muñoz" userId="a8473d96-f1aa-4c65-bd87-43f207d829a7" providerId="ADAL" clId="{C9C08E5F-D1DD-4EB7-9998-1BA91BAC664E}" dt="2024-08-31T13:39:44.247" v="1342"/>
          <ac:spMkLst>
            <pc:docMk/>
            <pc:sldMk cId="3763905385" sldId="258"/>
            <ac:spMk id="9" creationId="{08EB633B-1892-8C12-B3B8-340C121D454D}"/>
          </ac:spMkLst>
        </pc:spChg>
        <pc:spChg chg="add del mod modVis">
          <ac:chgData name="Pablo Ignacio Aguirre Muñoz" userId="a8473d96-f1aa-4c65-bd87-43f207d829a7" providerId="ADAL" clId="{C9C08E5F-D1DD-4EB7-9998-1BA91BAC664E}" dt="2024-08-31T13:39:47.125" v="1367"/>
          <ac:spMkLst>
            <pc:docMk/>
            <pc:sldMk cId="3763905385" sldId="258"/>
            <ac:spMk id="10" creationId="{A91C39A5-CCE9-931D-92C5-64C46CA53A2F}"/>
          </ac:spMkLst>
        </pc:spChg>
        <pc:spChg chg="add del mod modVis">
          <ac:chgData name="Pablo Ignacio Aguirre Muñoz" userId="a8473d96-f1aa-4c65-bd87-43f207d829a7" providerId="ADAL" clId="{C9C08E5F-D1DD-4EB7-9998-1BA91BAC664E}" dt="2024-08-31T13:39:47.680" v="1392"/>
          <ac:spMkLst>
            <pc:docMk/>
            <pc:sldMk cId="3763905385" sldId="258"/>
            <ac:spMk id="11" creationId="{7460D8C2-A7DD-BD5A-9CC4-0003D77812F7}"/>
          </ac:spMkLst>
        </pc:spChg>
        <pc:spChg chg="add del mod modVis">
          <ac:chgData name="Pablo Ignacio Aguirre Muñoz" userId="a8473d96-f1aa-4c65-bd87-43f207d829a7" providerId="ADAL" clId="{C9C08E5F-D1DD-4EB7-9998-1BA91BAC664E}" dt="2024-08-31T13:39:48.948" v="1417"/>
          <ac:spMkLst>
            <pc:docMk/>
            <pc:sldMk cId="3763905385" sldId="258"/>
            <ac:spMk id="12" creationId="{7616A6A1-95E1-B8E6-15A3-6E47F382ADD7}"/>
          </ac:spMkLst>
        </pc:spChg>
        <pc:spChg chg="add del mod modVis">
          <ac:chgData name="Pablo Ignacio Aguirre Muñoz" userId="a8473d96-f1aa-4c65-bd87-43f207d829a7" providerId="ADAL" clId="{C9C08E5F-D1DD-4EB7-9998-1BA91BAC664E}" dt="2024-08-31T13:39:49.882" v="1443"/>
          <ac:spMkLst>
            <pc:docMk/>
            <pc:sldMk cId="3763905385" sldId="258"/>
            <ac:spMk id="13" creationId="{7E1F49C1-2E88-B50E-117C-687A0CD408DF}"/>
          </ac:spMkLst>
        </pc:spChg>
        <pc:spChg chg="add del mod modVis">
          <ac:chgData name="Pablo Ignacio Aguirre Muñoz" userId="a8473d96-f1aa-4c65-bd87-43f207d829a7" providerId="ADAL" clId="{C9C08E5F-D1DD-4EB7-9998-1BA91BAC664E}" dt="2024-08-31T13:39:50.483" v="1469"/>
          <ac:spMkLst>
            <pc:docMk/>
            <pc:sldMk cId="3763905385" sldId="258"/>
            <ac:spMk id="14" creationId="{2169FDCB-2FC2-2D7D-3E3C-163FA0C53062}"/>
          </ac:spMkLst>
        </pc:spChg>
        <pc:spChg chg="add del mod modVis">
          <ac:chgData name="Pablo Ignacio Aguirre Muñoz" userId="a8473d96-f1aa-4c65-bd87-43f207d829a7" providerId="ADAL" clId="{C9C08E5F-D1DD-4EB7-9998-1BA91BAC664E}" dt="2024-08-31T13:39:53.705" v="1502"/>
          <ac:spMkLst>
            <pc:docMk/>
            <pc:sldMk cId="3763905385" sldId="258"/>
            <ac:spMk id="15" creationId="{B8D4B254-9E8B-C75E-1FA1-2D64CBBCEE10}"/>
          </ac:spMkLst>
        </pc:spChg>
        <pc:spChg chg="add del mod modVis">
          <ac:chgData name="Pablo Ignacio Aguirre Muñoz" userId="a8473d96-f1aa-4c65-bd87-43f207d829a7" providerId="ADAL" clId="{C9C08E5F-D1DD-4EB7-9998-1BA91BAC664E}" dt="2024-08-31T13:39:54.764" v="1527"/>
          <ac:spMkLst>
            <pc:docMk/>
            <pc:sldMk cId="3763905385" sldId="258"/>
            <ac:spMk id="16" creationId="{0E6E33C8-20B7-A70C-C8C2-B6E367B6955D}"/>
          </ac:spMkLst>
        </pc:spChg>
        <pc:graphicFrameChg chg="add mod ord modVis">
          <ac:chgData name="Pablo Ignacio Aguirre Muñoz" userId="a8473d96-f1aa-4c65-bd87-43f207d829a7" providerId="ADAL" clId="{C9C08E5F-D1DD-4EB7-9998-1BA91BAC664E}" dt="2024-08-31T13:39:54.764" v="1529"/>
          <ac:graphicFrameMkLst>
            <pc:docMk/>
            <pc:sldMk cId="3763905385" sldId="258"/>
            <ac:graphicFrameMk id="4" creationId="{0E55DF7E-61EB-0925-AC44-A6156FEBC6F4}"/>
          </ac:graphicFrameMkLst>
        </pc:graphicFrameChg>
        <pc:picChg chg="add mod">
          <ac:chgData name="Pablo Ignacio Aguirre Muñoz" userId="a8473d96-f1aa-4c65-bd87-43f207d829a7" providerId="ADAL" clId="{C9C08E5F-D1DD-4EB7-9998-1BA91BAC664E}" dt="2024-08-31T12:48:05.184" v="687"/>
          <ac:picMkLst>
            <pc:docMk/>
            <pc:sldMk cId="3763905385" sldId="258"/>
            <ac:picMk id="3" creationId="{15B97E3F-D132-8681-27AA-1C11F6367C45}"/>
          </ac:picMkLst>
        </pc:picChg>
        <pc:picChg chg="add mod">
          <ac:chgData name="Pablo Ignacio Aguirre Muñoz" userId="a8473d96-f1aa-4c65-bd87-43f207d829a7" providerId="ADAL" clId="{C9C08E5F-D1DD-4EB7-9998-1BA91BAC664E}" dt="2024-08-31T12:48:05.184" v="687"/>
          <ac:picMkLst>
            <pc:docMk/>
            <pc:sldMk cId="3763905385" sldId="258"/>
            <ac:picMk id="6" creationId="{6A6552FD-9A8A-6684-42F0-5CD0AC44ECF0}"/>
          </ac:picMkLst>
        </pc:picChg>
        <pc:picChg chg="add mod">
          <ac:chgData name="Pablo Ignacio Aguirre Muñoz" userId="a8473d96-f1aa-4c65-bd87-43f207d829a7" providerId="ADAL" clId="{C9C08E5F-D1DD-4EB7-9998-1BA91BAC664E}" dt="2024-08-31T13:40:13.711" v="1530" actId="1076"/>
          <ac:picMkLst>
            <pc:docMk/>
            <pc:sldMk cId="3763905385" sldId="258"/>
            <ac:picMk id="7" creationId="{3347DCA5-17A0-A476-779A-930B0607B0DE}"/>
          </ac:picMkLst>
        </pc:picChg>
      </pc:sldChg>
      <pc:sldChg chg="addSp delSp modSp new del mod">
        <pc:chgData name="Pablo Ignacio Aguirre Muñoz" userId="a8473d96-f1aa-4c65-bd87-43f207d829a7" providerId="ADAL" clId="{C9C08E5F-D1DD-4EB7-9998-1BA91BAC664E}" dt="2024-08-31T14:33:59.105" v="1961" actId="47"/>
        <pc:sldMkLst>
          <pc:docMk/>
          <pc:sldMk cId="3374582742" sldId="259"/>
        </pc:sldMkLst>
        <pc:spChg chg="del">
          <ac:chgData name="Pablo Ignacio Aguirre Muñoz" userId="a8473d96-f1aa-4c65-bd87-43f207d829a7" providerId="ADAL" clId="{C9C08E5F-D1DD-4EB7-9998-1BA91BAC664E}" dt="2024-08-15T21:41:31.469" v="443"/>
          <ac:spMkLst>
            <pc:docMk/>
            <pc:sldMk cId="3374582742" sldId="259"/>
            <ac:spMk id="3" creationId="{9EADF573-2CBE-4496-66A1-C5430045DE86}"/>
          </ac:spMkLst>
        </pc:spChg>
        <pc:spChg chg="add mod">
          <ac:chgData name="Pablo Ignacio Aguirre Muñoz" userId="a8473d96-f1aa-4c65-bd87-43f207d829a7" providerId="ADAL" clId="{C9C08E5F-D1DD-4EB7-9998-1BA91BAC664E}" dt="2024-08-15T21:41:40.711" v="447" actId="404"/>
          <ac:spMkLst>
            <pc:docMk/>
            <pc:sldMk cId="3374582742" sldId="259"/>
            <ac:spMk id="4" creationId="{4C194A52-C3BF-4387-6BE1-E5C820AE7277}"/>
          </ac:spMkLst>
        </pc:spChg>
        <pc:picChg chg="add mod">
          <ac:chgData name="Pablo Ignacio Aguirre Muñoz" userId="a8473d96-f1aa-4c65-bd87-43f207d829a7" providerId="ADAL" clId="{C9C08E5F-D1DD-4EB7-9998-1BA91BAC664E}" dt="2024-08-31T12:48:06.211" v="688"/>
          <ac:picMkLst>
            <pc:docMk/>
            <pc:sldMk cId="3374582742" sldId="259"/>
            <ac:picMk id="3" creationId="{2E83CBF2-672F-00C2-E204-9277757E35BE}"/>
          </ac:picMkLst>
        </pc:picChg>
        <pc:picChg chg="add mod">
          <ac:chgData name="Pablo Ignacio Aguirre Muñoz" userId="a8473d96-f1aa-4c65-bd87-43f207d829a7" providerId="ADAL" clId="{C9C08E5F-D1DD-4EB7-9998-1BA91BAC664E}" dt="2024-08-31T12:48:06.211" v="688"/>
          <ac:picMkLst>
            <pc:docMk/>
            <pc:sldMk cId="3374582742" sldId="259"/>
            <ac:picMk id="5" creationId="{A560666C-9492-7EF6-04C4-D8B3559155DB}"/>
          </ac:picMkLst>
        </pc:picChg>
      </pc:sldChg>
      <pc:sldChg chg="addSp modSp del">
        <pc:chgData name="Pablo Ignacio Aguirre Muñoz" userId="a8473d96-f1aa-4c65-bd87-43f207d829a7" providerId="ADAL" clId="{C9C08E5F-D1DD-4EB7-9998-1BA91BAC664E}" dt="2024-09-14T13:59:26.067" v="2147" actId="47"/>
        <pc:sldMkLst>
          <pc:docMk/>
          <pc:sldMk cId="74976797" sldId="260"/>
        </pc:sldMkLst>
        <pc:picChg chg="add mod">
          <ac:chgData name="Pablo Ignacio Aguirre Muñoz" userId="a8473d96-f1aa-4c65-bd87-43f207d829a7" providerId="ADAL" clId="{C9C08E5F-D1DD-4EB7-9998-1BA91BAC664E}" dt="2024-08-31T12:48:03.725" v="686"/>
          <ac:picMkLst>
            <pc:docMk/>
            <pc:sldMk cId="74976797" sldId="260"/>
            <ac:picMk id="3" creationId="{0660C3B5-8D83-47B5-598B-14CEB564D09C}"/>
          </ac:picMkLst>
        </pc:picChg>
        <pc:picChg chg="add mod">
          <ac:chgData name="Pablo Ignacio Aguirre Muñoz" userId="a8473d96-f1aa-4c65-bd87-43f207d829a7" providerId="ADAL" clId="{C9C08E5F-D1DD-4EB7-9998-1BA91BAC664E}" dt="2024-08-31T12:48:03.725" v="686"/>
          <ac:picMkLst>
            <pc:docMk/>
            <pc:sldMk cId="74976797" sldId="260"/>
            <ac:picMk id="6" creationId="{58309187-062E-F7E0-9E08-8634BADC7F2A}"/>
          </ac:picMkLst>
        </pc:picChg>
      </pc:sldChg>
      <pc:sldChg chg="addSp delSp modSp del mod">
        <pc:chgData name="Pablo Ignacio Aguirre Muñoz" userId="a8473d96-f1aa-4c65-bd87-43f207d829a7" providerId="ADAL" clId="{C9C08E5F-D1DD-4EB7-9998-1BA91BAC664E}" dt="2024-08-31T13:24:53.493" v="1149" actId="47"/>
        <pc:sldMkLst>
          <pc:docMk/>
          <pc:sldMk cId="914084336" sldId="261"/>
        </pc:sldMkLst>
        <pc:spChg chg="del">
          <ac:chgData name="Pablo Ignacio Aguirre Muñoz" userId="a8473d96-f1aa-4c65-bd87-43f207d829a7" providerId="ADAL" clId="{C9C08E5F-D1DD-4EB7-9998-1BA91BAC664E}" dt="2024-08-30T01:48:45.493" v="505" actId="478"/>
          <ac:spMkLst>
            <pc:docMk/>
            <pc:sldMk cId="914084336" sldId="261"/>
            <ac:spMk id="2" creationId="{947267EF-9FE8-1406-BC39-1E8E5B19A7AC}"/>
          </ac:spMkLst>
        </pc:spChg>
        <pc:spChg chg="add del mod">
          <ac:chgData name="Pablo Ignacio Aguirre Muñoz" userId="a8473d96-f1aa-4c65-bd87-43f207d829a7" providerId="ADAL" clId="{C9C08E5F-D1DD-4EB7-9998-1BA91BAC664E}" dt="2024-08-30T01:48:49.698" v="511" actId="478"/>
          <ac:spMkLst>
            <pc:docMk/>
            <pc:sldMk cId="914084336" sldId="261"/>
            <ac:spMk id="3" creationId="{3F1C9D12-B11A-68DA-97AC-FE3B7DE6AEFB}"/>
          </ac:spMkLst>
        </pc:spChg>
        <pc:spChg chg="del">
          <ac:chgData name="Pablo Ignacio Aguirre Muñoz" userId="a8473d96-f1aa-4c65-bd87-43f207d829a7" providerId="ADAL" clId="{C9C08E5F-D1DD-4EB7-9998-1BA91BAC664E}" dt="2024-08-30T01:48:42.191" v="504" actId="478"/>
          <ac:spMkLst>
            <pc:docMk/>
            <pc:sldMk cId="914084336" sldId="261"/>
            <ac:spMk id="5" creationId="{1700E61D-9FDF-0C46-8A1E-AA419DD622E9}"/>
          </ac:spMkLst>
        </pc:spChg>
        <pc:spChg chg="add del mod">
          <ac:chgData name="Pablo Ignacio Aguirre Muñoz" userId="a8473d96-f1aa-4c65-bd87-43f207d829a7" providerId="ADAL" clId="{C9C08E5F-D1DD-4EB7-9998-1BA91BAC664E}" dt="2024-08-30T01:48:47.552" v="508" actId="478"/>
          <ac:spMkLst>
            <pc:docMk/>
            <pc:sldMk cId="914084336" sldId="261"/>
            <ac:spMk id="7" creationId="{91F5AA56-EF53-6C58-DB01-0F8CB1D57E98}"/>
          </ac:spMkLst>
        </pc:spChg>
        <pc:spChg chg="add mod">
          <ac:chgData name="Pablo Ignacio Aguirre Muñoz" userId="a8473d96-f1aa-4c65-bd87-43f207d829a7" providerId="ADAL" clId="{C9C08E5F-D1DD-4EB7-9998-1BA91BAC664E}" dt="2024-08-30T01:49:00.209" v="513" actId="1076"/>
          <ac:spMkLst>
            <pc:docMk/>
            <pc:sldMk cId="914084336" sldId="261"/>
            <ac:spMk id="9" creationId="{18137865-5782-7BE2-804A-3453E3D4D14D}"/>
          </ac:spMkLst>
        </pc:spChg>
        <pc:spChg chg="add">
          <ac:chgData name="Pablo Ignacio Aguirre Muñoz" userId="a8473d96-f1aa-4c65-bd87-43f207d829a7" providerId="ADAL" clId="{C9C08E5F-D1DD-4EB7-9998-1BA91BAC664E}" dt="2024-08-30T01:49:10.407" v="514"/>
          <ac:spMkLst>
            <pc:docMk/>
            <pc:sldMk cId="914084336" sldId="261"/>
            <ac:spMk id="10" creationId="{ACAF782C-989D-2801-9A9A-77772D6AA7AB}"/>
          </ac:spMkLst>
        </pc:spChg>
        <pc:spChg chg="add del mod">
          <ac:chgData name="Pablo Ignacio Aguirre Muñoz" userId="a8473d96-f1aa-4c65-bd87-43f207d829a7" providerId="ADAL" clId="{C9C08E5F-D1DD-4EB7-9998-1BA91BAC664E}" dt="2024-08-30T01:49:54.418" v="520"/>
          <ac:spMkLst>
            <pc:docMk/>
            <pc:sldMk cId="914084336" sldId="261"/>
            <ac:spMk id="11" creationId="{2A1BE78E-E2A1-871D-C229-323DC93D53AA}"/>
          </ac:spMkLst>
        </pc:spChg>
        <pc:spChg chg="add">
          <ac:chgData name="Pablo Ignacio Aguirre Muñoz" userId="a8473d96-f1aa-4c65-bd87-43f207d829a7" providerId="ADAL" clId="{C9C08E5F-D1DD-4EB7-9998-1BA91BAC664E}" dt="2024-08-30T01:49:26.281" v="516"/>
          <ac:spMkLst>
            <pc:docMk/>
            <pc:sldMk cId="914084336" sldId="261"/>
            <ac:spMk id="12" creationId="{B5533602-547F-4A59-72D3-8E83AF8CCC93}"/>
          </ac:spMkLst>
        </pc:spChg>
        <pc:spChg chg="add">
          <ac:chgData name="Pablo Ignacio Aguirre Muñoz" userId="a8473d96-f1aa-4c65-bd87-43f207d829a7" providerId="ADAL" clId="{C9C08E5F-D1DD-4EB7-9998-1BA91BAC664E}" dt="2024-08-30T01:49:31.223" v="517"/>
          <ac:spMkLst>
            <pc:docMk/>
            <pc:sldMk cId="914084336" sldId="261"/>
            <ac:spMk id="13" creationId="{38B197A5-7D48-4B43-B116-FA44B07193CC}"/>
          </ac:spMkLst>
        </pc:spChg>
        <pc:spChg chg="add">
          <ac:chgData name="Pablo Ignacio Aguirre Muñoz" userId="a8473d96-f1aa-4c65-bd87-43f207d829a7" providerId="ADAL" clId="{C9C08E5F-D1DD-4EB7-9998-1BA91BAC664E}" dt="2024-08-30T01:49:51.693" v="518"/>
          <ac:spMkLst>
            <pc:docMk/>
            <pc:sldMk cId="914084336" sldId="261"/>
            <ac:spMk id="14" creationId="{E2CBFB9F-387A-3499-59B5-8C62651DF319}"/>
          </ac:spMkLst>
        </pc:spChg>
        <pc:spChg chg="add mod">
          <ac:chgData name="Pablo Ignacio Aguirre Muñoz" userId="a8473d96-f1aa-4c65-bd87-43f207d829a7" providerId="ADAL" clId="{C9C08E5F-D1DD-4EB7-9998-1BA91BAC664E}" dt="2024-08-30T01:54:02.274" v="530" actId="14100"/>
          <ac:spMkLst>
            <pc:docMk/>
            <pc:sldMk cId="914084336" sldId="261"/>
            <ac:spMk id="15" creationId="{18648BFF-F2C1-6174-320B-7E4BC9EE1E77}"/>
          </ac:spMkLst>
        </pc:spChg>
        <pc:spChg chg="add">
          <ac:chgData name="Pablo Ignacio Aguirre Muñoz" userId="a8473d96-f1aa-4c65-bd87-43f207d829a7" providerId="ADAL" clId="{C9C08E5F-D1DD-4EB7-9998-1BA91BAC664E}" dt="2024-08-30T01:50:04.481" v="524"/>
          <ac:spMkLst>
            <pc:docMk/>
            <pc:sldMk cId="914084336" sldId="261"/>
            <ac:spMk id="16" creationId="{A7AE4BA5-1C90-2BE5-B256-B958182E0519}"/>
          </ac:spMkLst>
        </pc:spChg>
        <pc:spChg chg="add mod">
          <ac:chgData name="Pablo Ignacio Aguirre Muñoz" userId="a8473d96-f1aa-4c65-bd87-43f207d829a7" providerId="ADAL" clId="{C9C08E5F-D1DD-4EB7-9998-1BA91BAC664E}" dt="2024-08-30T01:54:10.918" v="533" actId="14100"/>
          <ac:spMkLst>
            <pc:docMk/>
            <pc:sldMk cId="914084336" sldId="261"/>
            <ac:spMk id="18" creationId="{2CA34465-7C72-B5AB-0C13-1A26998749DE}"/>
          </ac:spMkLst>
        </pc:spChg>
        <pc:spChg chg="add mod">
          <ac:chgData name="Pablo Ignacio Aguirre Muñoz" userId="a8473d96-f1aa-4c65-bd87-43f207d829a7" providerId="ADAL" clId="{C9C08E5F-D1DD-4EB7-9998-1BA91BAC664E}" dt="2024-08-30T01:54:57.913" v="537" actId="14100"/>
          <ac:spMkLst>
            <pc:docMk/>
            <pc:sldMk cId="914084336" sldId="261"/>
            <ac:spMk id="20" creationId="{A855CFDF-45FD-2765-5A70-94DBBBAAFA54}"/>
          </ac:spMkLst>
        </pc:spChg>
        <pc:graphicFrameChg chg="mod">
          <ac:chgData name="Pablo Ignacio Aguirre Muñoz" userId="a8473d96-f1aa-4c65-bd87-43f207d829a7" providerId="ADAL" clId="{C9C08E5F-D1DD-4EB7-9998-1BA91BAC664E}" dt="2024-08-30T01:48:48.072" v="510"/>
          <ac:graphicFrameMkLst>
            <pc:docMk/>
            <pc:sldMk cId="914084336" sldId="261"/>
            <ac:graphicFrameMk id="4" creationId="{8087ED52-6F9B-B2AB-70BF-ECC7EDADCDA9}"/>
          </ac:graphicFrameMkLst>
        </pc:graphicFrameChg>
        <pc:picChg chg="add mod">
          <ac:chgData name="Pablo Ignacio Aguirre Muñoz" userId="a8473d96-f1aa-4c65-bd87-43f207d829a7" providerId="ADAL" clId="{C9C08E5F-D1DD-4EB7-9998-1BA91BAC664E}" dt="2024-08-31T12:48:01.280" v="684"/>
          <ac:picMkLst>
            <pc:docMk/>
            <pc:sldMk cId="914084336" sldId="261"/>
            <ac:picMk id="2" creationId="{7832D626-89C4-D3A4-C0EF-CCDC4FD1849C}"/>
          </ac:picMkLst>
        </pc:picChg>
        <pc:picChg chg="add mod">
          <ac:chgData name="Pablo Ignacio Aguirre Muñoz" userId="a8473d96-f1aa-4c65-bd87-43f207d829a7" providerId="ADAL" clId="{C9C08E5F-D1DD-4EB7-9998-1BA91BAC664E}" dt="2024-08-31T12:48:01.280" v="684"/>
          <ac:picMkLst>
            <pc:docMk/>
            <pc:sldMk cId="914084336" sldId="261"/>
            <ac:picMk id="3" creationId="{66E98FB7-204D-08E3-9B9A-42B501EE6A88}"/>
          </ac:picMkLst>
        </pc:picChg>
      </pc:sldChg>
      <pc:sldChg chg="addSp delSp modSp new del mod">
        <pc:chgData name="Pablo Ignacio Aguirre Muñoz" userId="a8473d96-f1aa-4c65-bd87-43f207d829a7" providerId="ADAL" clId="{C9C08E5F-D1DD-4EB7-9998-1BA91BAC664E}" dt="2024-08-31T13:24:59.056" v="1150" actId="47"/>
        <pc:sldMkLst>
          <pc:docMk/>
          <pc:sldMk cId="1343512524" sldId="262"/>
        </pc:sldMkLst>
        <pc:spChg chg="mod">
          <ac:chgData name="Pablo Ignacio Aguirre Muñoz" userId="a8473d96-f1aa-4c65-bd87-43f207d829a7" providerId="ADAL" clId="{C9C08E5F-D1DD-4EB7-9998-1BA91BAC664E}" dt="2024-08-30T01:55:19.314" v="540" actId="948"/>
          <ac:spMkLst>
            <pc:docMk/>
            <pc:sldMk cId="1343512524" sldId="262"/>
            <ac:spMk id="2" creationId="{0AE699F6-13B4-13BE-39C2-BF2A44564496}"/>
          </ac:spMkLst>
        </pc:spChg>
        <pc:spChg chg="mod">
          <ac:chgData name="Pablo Ignacio Aguirre Muñoz" userId="a8473d96-f1aa-4c65-bd87-43f207d829a7" providerId="ADAL" clId="{C9C08E5F-D1DD-4EB7-9998-1BA91BAC664E}" dt="2024-08-30T01:56:23.228" v="583"/>
          <ac:spMkLst>
            <pc:docMk/>
            <pc:sldMk cId="1343512524" sldId="262"/>
            <ac:spMk id="3" creationId="{73BCC130-4DE7-835E-4436-228D6E314C89}"/>
          </ac:spMkLst>
        </pc:spChg>
        <pc:spChg chg="add del mod modVis">
          <ac:chgData name="Pablo Ignacio Aguirre Muñoz" userId="a8473d96-f1aa-4c65-bd87-43f207d829a7" providerId="ADAL" clId="{C9C08E5F-D1DD-4EB7-9998-1BA91BAC664E}" dt="2024-08-30T01:55:19.354" v="561"/>
          <ac:spMkLst>
            <pc:docMk/>
            <pc:sldMk cId="1343512524" sldId="262"/>
            <ac:spMk id="4" creationId="{4BB0E4E2-96F4-BD04-1FFC-449F6DB28FE2}"/>
          </ac:spMkLst>
        </pc:spChg>
        <pc:graphicFrameChg chg="add mod ord modVis">
          <ac:chgData name="Pablo Ignacio Aguirre Muñoz" userId="a8473d96-f1aa-4c65-bd87-43f207d829a7" providerId="ADAL" clId="{C9C08E5F-D1DD-4EB7-9998-1BA91BAC664E}" dt="2024-08-30T01:55:19.732" v="575"/>
          <ac:graphicFrameMkLst>
            <pc:docMk/>
            <pc:sldMk cId="1343512524" sldId="262"/>
            <ac:graphicFrameMk id="5" creationId="{83A5CABD-C35B-38C8-985D-45E42250D3B4}"/>
          </ac:graphicFrameMkLst>
        </pc:graphicFrameChg>
        <pc:picChg chg="add mod">
          <ac:chgData name="Pablo Ignacio Aguirre Muñoz" userId="a8473d96-f1aa-4c65-bd87-43f207d829a7" providerId="ADAL" clId="{C9C08E5F-D1DD-4EB7-9998-1BA91BAC664E}" dt="2024-08-31T12:48:02.632" v="685"/>
          <ac:picMkLst>
            <pc:docMk/>
            <pc:sldMk cId="1343512524" sldId="262"/>
            <ac:picMk id="4" creationId="{1B363402-BEFB-70D3-2AC4-7BB937777BC4}"/>
          </ac:picMkLst>
        </pc:picChg>
        <pc:picChg chg="add mod">
          <ac:chgData name="Pablo Ignacio Aguirre Muñoz" userId="a8473d96-f1aa-4c65-bd87-43f207d829a7" providerId="ADAL" clId="{C9C08E5F-D1DD-4EB7-9998-1BA91BAC664E}" dt="2024-08-31T12:48:02.632" v="685"/>
          <ac:picMkLst>
            <pc:docMk/>
            <pc:sldMk cId="1343512524" sldId="262"/>
            <ac:picMk id="6" creationId="{F94CA74C-EAB6-00DB-0805-17C67E86CEB2}"/>
          </ac:picMkLst>
        </pc:picChg>
      </pc:sldChg>
      <pc:sldChg chg="addSp delSp modSp new del mod">
        <pc:chgData name="Pablo Ignacio Aguirre Muñoz" userId="a8473d96-f1aa-4c65-bd87-43f207d829a7" providerId="ADAL" clId="{C9C08E5F-D1DD-4EB7-9998-1BA91BAC664E}" dt="2024-09-11T02:57:11.378" v="1969" actId="47"/>
        <pc:sldMkLst>
          <pc:docMk/>
          <pc:sldMk cId="1841227544" sldId="263"/>
        </pc:sldMkLst>
        <pc:spChg chg="mod">
          <ac:chgData name="Pablo Ignacio Aguirre Muñoz" userId="a8473d96-f1aa-4c65-bd87-43f207d829a7" providerId="ADAL" clId="{C9C08E5F-D1DD-4EB7-9998-1BA91BAC664E}" dt="2024-08-31T13:41:00.870" v="1557" actId="948"/>
          <ac:spMkLst>
            <pc:docMk/>
            <pc:sldMk cId="1841227544" sldId="263"/>
            <ac:spMk id="2" creationId="{8719B67F-701B-AC72-4ACE-FE7620316BDC}"/>
          </ac:spMkLst>
        </pc:spChg>
        <pc:spChg chg="del mod">
          <ac:chgData name="Pablo Ignacio Aguirre Muñoz" userId="a8473d96-f1aa-4c65-bd87-43f207d829a7" providerId="ADAL" clId="{C9C08E5F-D1DD-4EB7-9998-1BA91BAC664E}" dt="2024-08-31T14:00:43.323" v="1680" actId="478"/>
          <ac:spMkLst>
            <pc:docMk/>
            <pc:sldMk cId="1841227544" sldId="263"/>
            <ac:spMk id="3" creationId="{CF54F77D-8EF9-C73E-8CEA-0E23943363B2}"/>
          </ac:spMkLst>
        </pc:spChg>
        <pc:spChg chg="add mod">
          <ac:chgData name="Pablo Ignacio Aguirre Muñoz" userId="a8473d96-f1aa-4c65-bd87-43f207d829a7" providerId="ADAL" clId="{C9C08E5F-D1DD-4EB7-9998-1BA91BAC664E}" dt="2024-08-31T14:03:16.579" v="1932" actId="113"/>
          <ac:spMkLst>
            <pc:docMk/>
            <pc:sldMk cId="1841227544" sldId="263"/>
            <ac:spMk id="4" creationId="{570897D9-4A31-D460-8607-C16B27D9EF84}"/>
          </ac:spMkLst>
        </pc:spChg>
        <pc:spChg chg="add del mod">
          <ac:chgData name="Pablo Ignacio Aguirre Muñoz" userId="a8473d96-f1aa-4c65-bd87-43f207d829a7" providerId="ADAL" clId="{C9C08E5F-D1DD-4EB7-9998-1BA91BAC664E}" dt="2024-08-31T14:00:45.635" v="1681" actId="478"/>
          <ac:spMkLst>
            <pc:docMk/>
            <pc:sldMk cId="1841227544" sldId="263"/>
            <ac:spMk id="9" creationId="{487BE247-9F6D-8D7E-2D04-D4BA8906DDAD}"/>
          </ac:spMkLst>
        </pc:spChg>
        <pc:graphicFrameChg chg="add mod ord modVis">
          <ac:chgData name="Pablo Ignacio Aguirre Muñoz" userId="a8473d96-f1aa-4c65-bd87-43f207d829a7" providerId="ADAL" clId="{C9C08E5F-D1DD-4EB7-9998-1BA91BAC664E}" dt="2024-08-31T13:41:00.878" v="1559"/>
          <ac:graphicFrameMkLst>
            <pc:docMk/>
            <pc:sldMk cId="1841227544" sldId="263"/>
            <ac:graphicFrameMk id="5" creationId="{9E6F7DE7-FF27-A083-F059-F489E795EE90}"/>
          </ac:graphicFrameMkLst>
        </pc:graphicFrameChg>
        <pc:picChg chg="add mod">
          <ac:chgData name="Pablo Ignacio Aguirre Muñoz" userId="a8473d96-f1aa-4c65-bd87-43f207d829a7" providerId="ADAL" clId="{C9C08E5F-D1DD-4EB7-9998-1BA91BAC664E}" dt="2024-08-31T13:40:31.625" v="1531"/>
          <ac:picMkLst>
            <pc:docMk/>
            <pc:sldMk cId="1841227544" sldId="263"/>
            <ac:picMk id="6" creationId="{19B7BF1E-1F53-BA99-6051-63C8BD77C94A}"/>
          </ac:picMkLst>
        </pc:picChg>
        <pc:picChg chg="add mod">
          <ac:chgData name="Pablo Ignacio Aguirre Muñoz" userId="a8473d96-f1aa-4c65-bd87-43f207d829a7" providerId="ADAL" clId="{C9C08E5F-D1DD-4EB7-9998-1BA91BAC664E}" dt="2024-08-31T13:40:31.625" v="1531"/>
          <ac:picMkLst>
            <pc:docMk/>
            <pc:sldMk cId="1841227544" sldId="263"/>
            <ac:picMk id="7" creationId="{9A5D98C1-9713-FBC2-6526-7BAAC97070F4}"/>
          </ac:picMkLst>
        </pc:picChg>
      </pc:sldChg>
      <pc:sldChg chg="addSp delSp modSp new del mod">
        <pc:chgData name="Pablo Ignacio Aguirre Muñoz" userId="a8473d96-f1aa-4c65-bd87-43f207d829a7" providerId="ADAL" clId="{C9C08E5F-D1DD-4EB7-9998-1BA91BAC664E}" dt="2024-08-31T13:24:42.003" v="1148" actId="47"/>
        <pc:sldMkLst>
          <pc:docMk/>
          <pc:sldMk cId="171604088" sldId="264"/>
        </pc:sldMkLst>
        <pc:spChg chg="mod">
          <ac:chgData name="Pablo Ignacio Aguirre Muñoz" userId="a8473d96-f1aa-4c65-bd87-43f207d829a7" providerId="ADAL" clId="{C9C08E5F-D1DD-4EB7-9998-1BA91BAC664E}" dt="2024-08-31T12:48:42.678" v="918" actId="948"/>
          <ac:spMkLst>
            <pc:docMk/>
            <pc:sldMk cId="171604088" sldId="264"/>
            <ac:spMk id="2" creationId="{15DC1BD4-DAD6-956F-53EE-765995B856D2}"/>
          </ac:spMkLst>
        </pc:spChg>
        <pc:spChg chg="mod">
          <ac:chgData name="Pablo Ignacio Aguirre Muñoz" userId="a8473d96-f1aa-4c65-bd87-43f207d829a7" providerId="ADAL" clId="{C9C08E5F-D1DD-4EB7-9998-1BA91BAC664E}" dt="2024-08-31T12:48:56.593" v="984" actId="20577"/>
          <ac:spMkLst>
            <pc:docMk/>
            <pc:sldMk cId="171604088" sldId="264"/>
            <ac:spMk id="3" creationId="{ADAC0968-2D92-8B7E-2E8C-D9A898D4DB6C}"/>
          </ac:spMkLst>
        </pc:spChg>
        <pc:spChg chg="add del mod modVis">
          <ac:chgData name="Pablo Ignacio Aguirre Muñoz" userId="a8473d96-f1aa-4c65-bd87-43f207d829a7" providerId="ADAL" clId="{C9C08E5F-D1DD-4EB7-9998-1BA91BAC664E}" dt="2024-08-31T12:48:32.210" v="768"/>
          <ac:spMkLst>
            <pc:docMk/>
            <pc:sldMk cId="171604088" sldId="264"/>
            <ac:spMk id="5" creationId="{43069017-BA13-777D-1C49-2E082E8E0CC3}"/>
          </ac:spMkLst>
        </pc:spChg>
        <pc:spChg chg="add del mod modVis">
          <ac:chgData name="Pablo Ignacio Aguirre Muñoz" userId="a8473d96-f1aa-4c65-bd87-43f207d829a7" providerId="ADAL" clId="{C9C08E5F-D1DD-4EB7-9998-1BA91BAC664E}" dt="2024-08-31T12:48:33.803" v="797"/>
          <ac:spMkLst>
            <pc:docMk/>
            <pc:sldMk cId="171604088" sldId="264"/>
            <ac:spMk id="6" creationId="{085B8806-80C8-C560-553B-8CD622DBE6A8}"/>
          </ac:spMkLst>
        </pc:spChg>
        <pc:spChg chg="add del mod modVis">
          <ac:chgData name="Pablo Ignacio Aguirre Muñoz" userId="a8473d96-f1aa-4c65-bd87-43f207d829a7" providerId="ADAL" clId="{C9C08E5F-D1DD-4EB7-9998-1BA91BAC664E}" dt="2024-08-31T12:48:34.915" v="824"/>
          <ac:spMkLst>
            <pc:docMk/>
            <pc:sldMk cId="171604088" sldId="264"/>
            <ac:spMk id="7" creationId="{36F4D635-E552-81EA-403C-EBB21E337B2F}"/>
          </ac:spMkLst>
        </pc:spChg>
        <pc:spChg chg="add del mod modVis">
          <ac:chgData name="Pablo Ignacio Aguirre Muñoz" userId="a8473d96-f1aa-4c65-bd87-43f207d829a7" providerId="ADAL" clId="{C9C08E5F-D1DD-4EB7-9998-1BA91BAC664E}" dt="2024-08-31T12:48:38.610" v="863"/>
          <ac:spMkLst>
            <pc:docMk/>
            <pc:sldMk cId="171604088" sldId="264"/>
            <ac:spMk id="8" creationId="{183139D4-0EC5-E469-9C6B-B9CB5B016556}"/>
          </ac:spMkLst>
        </pc:spChg>
        <pc:spChg chg="add del mod modVis">
          <ac:chgData name="Pablo Ignacio Aguirre Muñoz" userId="a8473d96-f1aa-4c65-bd87-43f207d829a7" providerId="ADAL" clId="{C9C08E5F-D1DD-4EB7-9998-1BA91BAC664E}" dt="2024-08-31T12:48:41.257" v="888"/>
          <ac:spMkLst>
            <pc:docMk/>
            <pc:sldMk cId="171604088" sldId="264"/>
            <ac:spMk id="9" creationId="{DF140699-9957-C244-1714-078AAB79CD7F}"/>
          </ac:spMkLst>
        </pc:spChg>
        <pc:spChg chg="add del mod modVis">
          <ac:chgData name="Pablo Ignacio Aguirre Muñoz" userId="a8473d96-f1aa-4c65-bd87-43f207d829a7" providerId="ADAL" clId="{C9C08E5F-D1DD-4EB7-9998-1BA91BAC664E}" dt="2024-08-31T12:48:42.055" v="914"/>
          <ac:spMkLst>
            <pc:docMk/>
            <pc:sldMk cId="171604088" sldId="264"/>
            <ac:spMk id="10" creationId="{CF346769-3402-F13C-B73B-399A6556B972}"/>
          </ac:spMkLst>
        </pc:spChg>
        <pc:spChg chg="add del mod modVis">
          <ac:chgData name="Pablo Ignacio Aguirre Muñoz" userId="a8473d96-f1aa-4c65-bd87-43f207d829a7" providerId="ADAL" clId="{C9C08E5F-D1DD-4EB7-9998-1BA91BAC664E}" dt="2024-08-31T12:48:42.695" v="939"/>
          <ac:spMkLst>
            <pc:docMk/>
            <pc:sldMk cId="171604088" sldId="264"/>
            <ac:spMk id="11" creationId="{475D74E9-8488-368B-1C16-591865461EFD}"/>
          </ac:spMkLst>
        </pc:spChg>
        <pc:graphicFrameChg chg="add mod ord modVis">
          <ac:chgData name="Pablo Ignacio Aguirre Muñoz" userId="a8473d96-f1aa-4c65-bd87-43f207d829a7" providerId="ADAL" clId="{C9C08E5F-D1DD-4EB7-9998-1BA91BAC664E}" dt="2024-08-31T12:48:42.695" v="941"/>
          <ac:graphicFrameMkLst>
            <pc:docMk/>
            <pc:sldMk cId="171604088" sldId="264"/>
            <ac:graphicFrameMk id="4" creationId="{A61594B8-7E75-00F7-331F-1EA5B571C244}"/>
          </ac:graphicFrameMkLst>
        </pc:graphicFrameChg>
      </pc:sldChg>
      <pc:sldChg chg="addSp delSp modSp new mod ord setBg">
        <pc:chgData name="Pablo Ignacio Aguirre Muñoz" userId="a8473d96-f1aa-4c65-bd87-43f207d829a7" providerId="ADAL" clId="{C9C08E5F-D1DD-4EB7-9998-1BA91BAC664E}" dt="2024-09-14T14:22:42.515" v="3275" actId="20577"/>
        <pc:sldMkLst>
          <pc:docMk/>
          <pc:sldMk cId="3733757270" sldId="265"/>
        </pc:sldMkLst>
        <pc:spChg chg="mod">
          <ac:chgData name="Pablo Ignacio Aguirre Muñoz" userId="a8473d96-f1aa-4c65-bd87-43f207d829a7" providerId="ADAL" clId="{C9C08E5F-D1DD-4EB7-9998-1BA91BAC664E}" dt="2024-08-31T12:49:37.807" v="1007" actId="948"/>
          <ac:spMkLst>
            <pc:docMk/>
            <pc:sldMk cId="3733757270" sldId="265"/>
            <ac:spMk id="2" creationId="{F2BF0307-5463-FC20-47CD-8B120D7AFC0C}"/>
          </ac:spMkLst>
        </pc:spChg>
        <pc:spChg chg="mod">
          <ac:chgData name="Pablo Ignacio Aguirre Muñoz" userId="a8473d96-f1aa-4c65-bd87-43f207d829a7" providerId="ADAL" clId="{C9C08E5F-D1DD-4EB7-9998-1BA91BAC664E}" dt="2024-09-14T14:22:42.515" v="3275" actId="20577"/>
          <ac:spMkLst>
            <pc:docMk/>
            <pc:sldMk cId="3733757270" sldId="265"/>
            <ac:spMk id="3" creationId="{12931171-9855-5E78-0152-483585F5ED08}"/>
          </ac:spMkLst>
        </pc:spChg>
        <pc:spChg chg="add del mod modVis">
          <ac:chgData name="Pablo Ignacio Aguirre Muñoz" userId="a8473d96-f1aa-4c65-bd87-43f207d829a7" providerId="ADAL" clId="{C9C08E5F-D1DD-4EB7-9998-1BA91BAC664E}" dt="2024-08-31T12:49:37.827" v="1028"/>
          <ac:spMkLst>
            <pc:docMk/>
            <pc:sldMk cId="3733757270" sldId="265"/>
            <ac:spMk id="5" creationId="{AAD6B2EF-EBC6-BF89-4008-4FDC8194853A}"/>
          </ac:spMkLst>
        </pc:spChg>
        <pc:spChg chg="add">
          <ac:chgData name="Pablo Ignacio Aguirre Muñoz" userId="a8473d96-f1aa-4c65-bd87-43f207d829a7" providerId="ADAL" clId="{C9C08E5F-D1DD-4EB7-9998-1BA91BAC664E}" dt="2024-08-31T12:49:26.147" v="986" actId="26606"/>
          <ac:spMkLst>
            <pc:docMk/>
            <pc:sldMk cId="3733757270" sldId="265"/>
            <ac:spMk id="8" creationId="{AC17DE74-01C9-4859-B65A-85CF999E8580}"/>
          </ac:spMkLst>
        </pc:spChg>
        <pc:spChg chg="add">
          <ac:chgData name="Pablo Ignacio Aguirre Muñoz" userId="a8473d96-f1aa-4c65-bd87-43f207d829a7" providerId="ADAL" clId="{C9C08E5F-D1DD-4EB7-9998-1BA91BAC664E}" dt="2024-08-31T12:49:26.147" v="986" actId="26606"/>
          <ac:spMkLst>
            <pc:docMk/>
            <pc:sldMk cId="3733757270" sldId="265"/>
            <ac:spMk id="10" creationId="{068C0432-0E90-4CC1-8CD3-D44A90DF07EF}"/>
          </ac:spMkLst>
        </pc:spChg>
        <pc:graphicFrameChg chg="add mod ord modVis">
          <ac:chgData name="Pablo Ignacio Aguirre Muñoz" userId="a8473d96-f1aa-4c65-bd87-43f207d829a7" providerId="ADAL" clId="{C9C08E5F-D1DD-4EB7-9998-1BA91BAC664E}" dt="2024-08-31T12:49:37.831" v="1030"/>
          <ac:graphicFrameMkLst>
            <pc:docMk/>
            <pc:sldMk cId="3733757270" sldId="265"/>
            <ac:graphicFrameMk id="4" creationId="{C7CE747B-19C5-1AD7-9A70-551F4F6B6C48}"/>
          </ac:graphicFrameMkLst>
        </pc:graphicFrameChg>
        <pc:picChg chg="add mod">
          <ac:chgData name="Pablo Ignacio Aguirre Muñoz" userId="a8473d96-f1aa-4c65-bd87-43f207d829a7" providerId="ADAL" clId="{C9C08E5F-D1DD-4EB7-9998-1BA91BAC664E}" dt="2024-08-31T12:49:57.074" v="1058" actId="1076"/>
          <ac:picMkLst>
            <pc:docMk/>
            <pc:sldMk cId="3733757270" sldId="265"/>
            <ac:picMk id="6" creationId="{83F5BFDE-40C4-F072-5BF5-A74113A0739B}"/>
          </ac:picMkLst>
        </pc:picChg>
        <pc:picChg chg="add mod">
          <ac:chgData name="Pablo Ignacio Aguirre Muñoz" userId="a8473d96-f1aa-4c65-bd87-43f207d829a7" providerId="ADAL" clId="{C9C08E5F-D1DD-4EB7-9998-1BA91BAC664E}" dt="2024-08-31T12:49:57.074" v="1058" actId="1076"/>
          <ac:picMkLst>
            <pc:docMk/>
            <pc:sldMk cId="3733757270" sldId="265"/>
            <ac:picMk id="7" creationId="{FD212A83-E53A-47D3-6B09-FF02ED02CFEC}"/>
          </ac:picMkLst>
        </pc:picChg>
        <pc:picChg chg="add mod">
          <ac:chgData name="Pablo Ignacio Aguirre Muñoz" userId="a8473d96-f1aa-4c65-bd87-43f207d829a7" providerId="ADAL" clId="{C9C08E5F-D1DD-4EB7-9998-1BA91BAC664E}" dt="2024-08-31T12:50:52.139" v="1067" actId="1076"/>
          <ac:picMkLst>
            <pc:docMk/>
            <pc:sldMk cId="3733757270" sldId="265"/>
            <ac:picMk id="11" creationId="{B65DC8BB-E133-C4FB-4431-441C56B50E85}"/>
          </ac:picMkLst>
        </pc:picChg>
        <pc:picChg chg="add mod">
          <ac:chgData name="Pablo Ignacio Aguirre Muñoz" userId="a8473d96-f1aa-4c65-bd87-43f207d829a7" providerId="ADAL" clId="{C9C08E5F-D1DD-4EB7-9998-1BA91BAC664E}" dt="2024-08-31T12:50:49.546" v="1066" actId="1076"/>
          <ac:picMkLst>
            <pc:docMk/>
            <pc:sldMk cId="3733757270" sldId="265"/>
            <ac:picMk id="13" creationId="{FC0E1EF1-6DD0-7C1F-6196-2C894AEB888D}"/>
          </ac:picMkLst>
        </pc:picChg>
        <pc:picChg chg="add mod">
          <ac:chgData name="Pablo Ignacio Aguirre Muñoz" userId="a8473d96-f1aa-4c65-bd87-43f207d829a7" providerId="ADAL" clId="{C9C08E5F-D1DD-4EB7-9998-1BA91BAC664E}" dt="2024-08-31T12:51:17.391" v="1070" actId="14100"/>
          <ac:picMkLst>
            <pc:docMk/>
            <pc:sldMk cId="3733757270" sldId="265"/>
            <ac:picMk id="15" creationId="{7E224D7C-4A35-F80C-1AA7-402680318867}"/>
          </ac:picMkLst>
        </pc:picChg>
      </pc:sldChg>
      <pc:sldChg chg="addSp delSp modSp new mod setBg">
        <pc:chgData name="Pablo Ignacio Aguirre Muñoz" userId="a8473d96-f1aa-4c65-bd87-43f207d829a7" providerId="ADAL" clId="{C9C08E5F-D1DD-4EB7-9998-1BA91BAC664E}" dt="2024-09-14T14:04:49.656" v="2622" actId="20577"/>
        <pc:sldMkLst>
          <pc:docMk/>
          <pc:sldMk cId="2812866795" sldId="266"/>
        </pc:sldMkLst>
        <pc:spChg chg="mod">
          <ac:chgData name="Pablo Ignacio Aguirre Muñoz" userId="a8473d96-f1aa-4c65-bd87-43f207d829a7" providerId="ADAL" clId="{C9C08E5F-D1DD-4EB7-9998-1BA91BAC664E}" dt="2024-08-31T13:21:23.253" v="1091" actId="948"/>
          <ac:spMkLst>
            <pc:docMk/>
            <pc:sldMk cId="2812866795" sldId="266"/>
            <ac:spMk id="2" creationId="{28547C12-267B-A48E-F359-67B2206F55CC}"/>
          </ac:spMkLst>
        </pc:spChg>
        <pc:spChg chg="mod">
          <ac:chgData name="Pablo Ignacio Aguirre Muñoz" userId="a8473d96-f1aa-4c65-bd87-43f207d829a7" providerId="ADAL" clId="{C9C08E5F-D1DD-4EB7-9998-1BA91BAC664E}" dt="2024-09-14T14:04:49.656" v="2622" actId="20577"/>
          <ac:spMkLst>
            <pc:docMk/>
            <pc:sldMk cId="2812866795" sldId="266"/>
            <ac:spMk id="3" creationId="{BB0E8C08-97EE-E36A-38C2-AA55C14A4CEB}"/>
          </ac:spMkLst>
        </pc:spChg>
        <pc:spChg chg="add del mod modVis">
          <ac:chgData name="Pablo Ignacio Aguirre Muñoz" userId="a8473d96-f1aa-4c65-bd87-43f207d829a7" providerId="ADAL" clId="{C9C08E5F-D1DD-4EB7-9998-1BA91BAC664E}" dt="2024-08-31T13:21:23.313" v="1112"/>
          <ac:spMkLst>
            <pc:docMk/>
            <pc:sldMk cId="2812866795" sldId="266"/>
            <ac:spMk id="7" creationId="{462DC07F-A056-D88F-A101-313E1A2AC27D}"/>
          </ac:spMkLst>
        </pc:spChg>
        <pc:spChg chg="add">
          <ac:chgData name="Pablo Ignacio Aguirre Muñoz" userId="a8473d96-f1aa-4c65-bd87-43f207d829a7" providerId="ADAL" clId="{C9C08E5F-D1DD-4EB7-9998-1BA91BAC664E}" dt="2024-08-31T13:20:33.693" v="1072" actId="26606"/>
          <ac:spMkLst>
            <pc:docMk/>
            <pc:sldMk cId="2812866795" sldId="266"/>
            <ac:spMk id="8" creationId="{DAF1966E-FD40-4A4A-B61B-C4DF7FA05F06}"/>
          </ac:spMkLst>
        </pc:spChg>
        <pc:spChg chg="add">
          <ac:chgData name="Pablo Ignacio Aguirre Muñoz" userId="a8473d96-f1aa-4c65-bd87-43f207d829a7" providerId="ADAL" clId="{C9C08E5F-D1DD-4EB7-9998-1BA91BAC664E}" dt="2024-08-31T13:20:33.693" v="1072" actId="26606"/>
          <ac:spMkLst>
            <pc:docMk/>
            <pc:sldMk cId="2812866795" sldId="266"/>
            <ac:spMk id="10" creationId="{047BFA19-D45E-416B-A404-7AF2F3F27017}"/>
          </ac:spMkLst>
        </pc:spChg>
        <pc:spChg chg="add">
          <ac:chgData name="Pablo Ignacio Aguirre Muñoz" userId="a8473d96-f1aa-4c65-bd87-43f207d829a7" providerId="ADAL" clId="{C9C08E5F-D1DD-4EB7-9998-1BA91BAC664E}" dt="2024-08-31T13:20:33.693" v="1072" actId="26606"/>
          <ac:spMkLst>
            <pc:docMk/>
            <pc:sldMk cId="2812866795" sldId="266"/>
            <ac:spMk id="12" creationId="{8E0105E7-23DB-4CF2-8258-FF47C7620F6E}"/>
          </ac:spMkLst>
        </pc:spChg>
        <pc:spChg chg="add">
          <ac:chgData name="Pablo Ignacio Aguirre Muñoz" userId="a8473d96-f1aa-4c65-bd87-43f207d829a7" providerId="ADAL" clId="{C9C08E5F-D1DD-4EB7-9998-1BA91BAC664E}" dt="2024-08-31T13:20:33.693" v="1072" actId="26606"/>
          <ac:spMkLst>
            <pc:docMk/>
            <pc:sldMk cId="2812866795" sldId="266"/>
            <ac:spMk id="14" creationId="{074B4F7D-14B2-478B-8BF5-01E4E0C5D263}"/>
          </ac:spMkLst>
        </pc:spChg>
        <pc:graphicFrameChg chg="add mod ord modVis">
          <ac:chgData name="Pablo Ignacio Aguirre Muñoz" userId="a8473d96-f1aa-4c65-bd87-43f207d829a7" providerId="ADAL" clId="{C9C08E5F-D1DD-4EB7-9998-1BA91BAC664E}" dt="2024-08-31T13:21:23.324" v="1114"/>
          <ac:graphicFrameMkLst>
            <pc:docMk/>
            <pc:sldMk cId="2812866795" sldId="266"/>
            <ac:graphicFrameMk id="4" creationId="{D684DFBC-146D-F5D7-4F03-4EC3D48F7475}"/>
          </ac:graphicFrameMkLst>
        </pc:graphicFrameChg>
        <pc:picChg chg="add mod">
          <ac:chgData name="Pablo Ignacio Aguirre Muñoz" userId="a8473d96-f1aa-4c65-bd87-43f207d829a7" providerId="ADAL" clId="{C9C08E5F-D1DD-4EB7-9998-1BA91BAC664E}" dt="2024-08-31T13:21:17.145" v="1088" actId="1076"/>
          <ac:picMkLst>
            <pc:docMk/>
            <pc:sldMk cId="2812866795" sldId="266"/>
            <ac:picMk id="5" creationId="{72511E89-A7B8-C94E-2BAA-41A8157EF7E7}"/>
          </ac:picMkLst>
        </pc:picChg>
        <pc:picChg chg="add mod">
          <ac:chgData name="Pablo Ignacio Aguirre Muñoz" userId="a8473d96-f1aa-4c65-bd87-43f207d829a7" providerId="ADAL" clId="{C9C08E5F-D1DD-4EB7-9998-1BA91BAC664E}" dt="2024-08-31T13:21:17.145" v="1088" actId="1076"/>
          <ac:picMkLst>
            <pc:docMk/>
            <pc:sldMk cId="2812866795" sldId="266"/>
            <ac:picMk id="6" creationId="{B955850C-7C0F-327C-1700-6F40EF4DAEF6}"/>
          </ac:picMkLst>
        </pc:picChg>
      </pc:sldChg>
      <pc:sldChg chg="addSp delSp modSp add mod ord">
        <pc:chgData name="Pablo Ignacio Aguirre Muñoz" userId="a8473d96-f1aa-4c65-bd87-43f207d829a7" providerId="ADAL" clId="{C9C08E5F-D1DD-4EB7-9998-1BA91BAC664E}" dt="2024-09-16T00:26:43.030" v="3340" actId="1076"/>
        <pc:sldMkLst>
          <pc:docMk/>
          <pc:sldMk cId="539066327" sldId="267"/>
        </pc:sldMkLst>
        <pc:spChg chg="mod">
          <ac:chgData name="Pablo Ignacio Aguirre Muñoz" userId="a8473d96-f1aa-4c65-bd87-43f207d829a7" providerId="ADAL" clId="{C9C08E5F-D1DD-4EB7-9998-1BA91BAC664E}" dt="2024-09-14T14:23:02.054" v="3302" actId="948"/>
          <ac:spMkLst>
            <pc:docMk/>
            <pc:sldMk cId="539066327" sldId="267"/>
            <ac:spMk id="2" creationId="{28547C12-267B-A48E-F359-67B2206F55CC}"/>
          </ac:spMkLst>
        </pc:spChg>
        <pc:spChg chg="add del mod modVis">
          <ac:chgData name="Pablo Ignacio Aguirre Muñoz" userId="a8473d96-f1aa-4c65-bd87-43f207d829a7" providerId="ADAL" clId="{C9C08E5F-D1DD-4EB7-9998-1BA91BAC664E}" dt="2024-09-14T14:23:01.372" v="3298"/>
          <ac:spMkLst>
            <pc:docMk/>
            <pc:sldMk cId="539066327" sldId="267"/>
            <ac:spMk id="3" creationId="{A1F57F2B-A009-60B3-02D5-BE951B9ACBC9}"/>
          </ac:spMkLst>
        </pc:spChg>
        <pc:spChg chg="add del mod">
          <ac:chgData name="Pablo Ignacio Aguirre Muñoz" userId="a8473d96-f1aa-4c65-bd87-43f207d829a7" providerId="ADAL" clId="{C9C08E5F-D1DD-4EB7-9998-1BA91BAC664E}" dt="2024-09-11T17:33:35.496" v="2146" actId="478"/>
          <ac:spMkLst>
            <pc:docMk/>
            <pc:sldMk cId="539066327" sldId="267"/>
            <ac:spMk id="3" creationId="{A8316C3D-C7D9-A3C1-73AC-9CB407E4D6CB}"/>
          </ac:spMkLst>
        </pc:spChg>
        <pc:spChg chg="del">
          <ac:chgData name="Pablo Ignacio Aguirre Muñoz" userId="a8473d96-f1aa-4c65-bd87-43f207d829a7" providerId="ADAL" clId="{C9C08E5F-D1DD-4EB7-9998-1BA91BAC664E}" dt="2024-08-31T13:39:12.326" v="1278" actId="478"/>
          <ac:spMkLst>
            <pc:docMk/>
            <pc:sldMk cId="539066327" sldId="267"/>
            <ac:spMk id="3" creationId="{BB0E8C08-97EE-E36A-38C2-AA55C14A4CEB}"/>
          </ac:spMkLst>
        </pc:spChg>
        <pc:spChg chg="add del mod">
          <ac:chgData name="Pablo Ignacio Aguirre Muñoz" userId="a8473d96-f1aa-4c65-bd87-43f207d829a7" providerId="ADAL" clId="{C9C08E5F-D1DD-4EB7-9998-1BA91BAC664E}" dt="2024-09-16T00:26:40.743" v="3339" actId="478"/>
          <ac:spMkLst>
            <pc:docMk/>
            <pc:sldMk cId="539066327" sldId="267"/>
            <ac:spMk id="7" creationId="{4BE67AAB-0AD7-C425-36BB-03C954721CB5}"/>
          </ac:spMkLst>
        </pc:spChg>
        <pc:spChg chg="add del mod modVis">
          <ac:chgData name="Pablo Ignacio Aguirre Muñoz" userId="a8473d96-f1aa-4c65-bd87-43f207d829a7" providerId="ADAL" clId="{C9C08E5F-D1DD-4EB7-9998-1BA91BAC664E}" dt="2024-09-14T14:23:02.070" v="3323"/>
          <ac:spMkLst>
            <pc:docMk/>
            <pc:sldMk cId="539066327" sldId="267"/>
            <ac:spMk id="7" creationId="{6EB4EE38-0C62-E9E9-FC6C-C028944C7CEC}"/>
          </ac:spMkLst>
        </pc:spChg>
        <pc:spChg chg="add del mod modVis">
          <ac:chgData name="Pablo Ignacio Aguirre Muñoz" userId="a8473d96-f1aa-4c65-bd87-43f207d829a7" providerId="ADAL" clId="{C9C08E5F-D1DD-4EB7-9998-1BA91BAC664E}" dt="2024-08-31T13:39:05.428" v="1235"/>
          <ac:spMkLst>
            <pc:docMk/>
            <pc:sldMk cId="539066327" sldId="267"/>
            <ac:spMk id="7" creationId="{F565657C-6BA9-1584-0483-2C910D9B6A89}"/>
          </ac:spMkLst>
        </pc:spChg>
        <pc:spChg chg="add del mod modVis">
          <ac:chgData name="Pablo Ignacio Aguirre Muñoz" userId="a8473d96-f1aa-4c65-bd87-43f207d829a7" providerId="ADAL" clId="{C9C08E5F-D1DD-4EB7-9998-1BA91BAC664E}" dt="2024-08-31T13:39:09.013" v="1275"/>
          <ac:spMkLst>
            <pc:docMk/>
            <pc:sldMk cId="539066327" sldId="267"/>
            <ac:spMk id="9" creationId="{91713496-3C6F-977E-DCED-901DBF35109C}"/>
          </ac:spMkLst>
        </pc:spChg>
        <pc:spChg chg="add del mod">
          <ac:chgData name="Pablo Ignacio Aguirre Muñoz" userId="a8473d96-f1aa-4c65-bd87-43f207d829a7" providerId="ADAL" clId="{C9C08E5F-D1DD-4EB7-9998-1BA91BAC664E}" dt="2024-08-31T14:33:44.375" v="1958" actId="22"/>
          <ac:spMkLst>
            <pc:docMk/>
            <pc:sldMk cId="539066327" sldId="267"/>
            <ac:spMk id="13" creationId="{3CD5709D-08B9-670B-DA5B-09073C2BE173}"/>
          </ac:spMkLst>
        </pc:spChg>
        <pc:spChg chg="add">
          <ac:chgData name="Pablo Ignacio Aguirre Muñoz" userId="a8473d96-f1aa-4c65-bd87-43f207d829a7" providerId="ADAL" clId="{C9C08E5F-D1DD-4EB7-9998-1BA91BAC664E}" dt="2024-08-31T14:09:20.237" v="1957"/>
          <ac:spMkLst>
            <pc:docMk/>
            <pc:sldMk cId="539066327" sldId="267"/>
            <ac:spMk id="15" creationId="{70BD6386-E510-30ED-2591-65DC0DE8F33B}"/>
          </ac:spMkLst>
        </pc:spChg>
        <pc:graphicFrameChg chg="mod">
          <ac:chgData name="Pablo Ignacio Aguirre Muñoz" userId="a8473d96-f1aa-4c65-bd87-43f207d829a7" providerId="ADAL" clId="{C9C08E5F-D1DD-4EB7-9998-1BA91BAC664E}" dt="2024-09-14T14:23:02.082" v="3325"/>
          <ac:graphicFrameMkLst>
            <pc:docMk/>
            <pc:sldMk cId="539066327" sldId="267"/>
            <ac:graphicFrameMk id="4" creationId="{D684DFBC-146D-F5D7-4F03-4EC3D48F7475}"/>
          </ac:graphicFrameMkLst>
        </pc:graphicFrameChg>
        <pc:picChg chg="add mod">
          <ac:chgData name="Pablo Ignacio Aguirre Muñoz" userId="a8473d96-f1aa-4c65-bd87-43f207d829a7" providerId="ADAL" clId="{C9C08E5F-D1DD-4EB7-9998-1BA91BAC664E}" dt="2024-09-16T00:26:43.030" v="3340" actId="1076"/>
          <ac:picMkLst>
            <pc:docMk/>
            <pc:sldMk cId="539066327" sldId="267"/>
            <ac:picMk id="11" creationId="{015D2AA7-5EF8-9C32-78CF-4958DDE4FA2C}"/>
          </ac:picMkLst>
        </pc:picChg>
        <pc:picChg chg="add del mod ord">
          <ac:chgData name="Pablo Ignacio Aguirre Muñoz" userId="a8473d96-f1aa-4c65-bd87-43f207d829a7" providerId="ADAL" clId="{C9C08E5F-D1DD-4EB7-9998-1BA91BAC664E}" dt="2024-09-16T00:26:37.776" v="3337" actId="478"/>
          <ac:picMkLst>
            <pc:docMk/>
            <pc:sldMk cId="539066327" sldId="267"/>
            <ac:picMk id="17" creationId="{1220195C-9304-E961-866E-81298CFE0F76}"/>
          </ac:picMkLst>
        </pc:picChg>
      </pc:sldChg>
      <pc:sldChg chg="addSp delSp modSp add del mod ord">
        <pc:chgData name="Pablo Ignacio Aguirre Muñoz" userId="a8473d96-f1aa-4c65-bd87-43f207d829a7" providerId="ADAL" clId="{C9C08E5F-D1DD-4EB7-9998-1BA91BAC664E}" dt="2024-08-31T13:38:37.958" v="1202" actId="47"/>
        <pc:sldMkLst>
          <pc:docMk/>
          <pc:sldMk cId="2930218544" sldId="267"/>
        </pc:sldMkLst>
        <pc:spChg chg="mod">
          <ac:chgData name="Pablo Ignacio Aguirre Muñoz" userId="a8473d96-f1aa-4c65-bd87-43f207d829a7" providerId="ADAL" clId="{C9C08E5F-D1DD-4EB7-9998-1BA91BAC664E}" dt="2024-08-31T13:38:12.824" v="1174" actId="948"/>
          <ac:spMkLst>
            <pc:docMk/>
            <pc:sldMk cId="2930218544" sldId="267"/>
            <ac:spMk id="2" creationId="{28547C12-267B-A48E-F359-67B2206F55CC}"/>
          </ac:spMkLst>
        </pc:spChg>
        <pc:spChg chg="mod">
          <ac:chgData name="Pablo Ignacio Aguirre Muñoz" userId="a8473d96-f1aa-4c65-bd87-43f207d829a7" providerId="ADAL" clId="{C9C08E5F-D1DD-4EB7-9998-1BA91BAC664E}" dt="2024-08-31T13:38:15.137" v="1199" actId="27636"/>
          <ac:spMkLst>
            <pc:docMk/>
            <pc:sldMk cId="2930218544" sldId="267"/>
            <ac:spMk id="3" creationId="{BB0E8C08-97EE-E36A-38C2-AA55C14A4CEB}"/>
          </ac:spMkLst>
        </pc:spChg>
        <pc:spChg chg="add del mod modVis">
          <ac:chgData name="Pablo Ignacio Aguirre Muñoz" userId="a8473d96-f1aa-4c65-bd87-43f207d829a7" providerId="ADAL" clId="{C9C08E5F-D1DD-4EB7-9998-1BA91BAC664E}" dt="2024-08-31T13:38:12.902" v="1195"/>
          <ac:spMkLst>
            <pc:docMk/>
            <pc:sldMk cId="2930218544" sldId="267"/>
            <ac:spMk id="7" creationId="{DC5DCE7B-D0A3-806A-DDB3-7EEF80D76731}"/>
          </ac:spMkLst>
        </pc:spChg>
        <pc:graphicFrameChg chg="mod">
          <ac:chgData name="Pablo Ignacio Aguirre Muñoz" userId="a8473d96-f1aa-4c65-bd87-43f207d829a7" providerId="ADAL" clId="{C9C08E5F-D1DD-4EB7-9998-1BA91BAC664E}" dt="2024-08-31T13:38:12.918" v="1197"/>
          <ac:graphicFrameMkLst>
            <pc:docMk/>
            <pc:sldMk cId="2930218544" sldId="267"/>
            <ac:graphicFrameMk id="4" creationId="{D684DFBC-146D-F5D7-4F03-4EC3D48F7475}"/>
          </ac:graphicFrameMkLst>
        </pc:graphicFrameChg>
      </pc:sldChg>
      <pc:sldChg chg="addSp delSp modSp new del mod ord setBg">
        <pc:chgData name="Pablo Ignacio Aguirre Muñoz" userId="a8473d96-f1aa-4c65-bd87-43f207d829a7" providerId="ADAL" clId="{C9C08E5F-D1DD-4EB7-9998-1BA91BAC664E}" dt="2024-09-16T00:30:15.358" v="3341" actId="47"/>
        <pc:sldMkLst>
          <pc:docMk/>
          <pc:sldMk cId="2073125091" sldId="268"/>
        </pc:sldMkLst>
        <pc:spChg chg="del mod">
          <ac:chgData name="Pablo Ignacio Aguirre Muñoz" userId="a8473d96-f1aa-4c65-bd87-43f207d829a7" providerId="ADAL" clId="{C9C08E5F-D1DD-4EB7-9998-1BA91BAC664E}" dt="2024-08-31T13:40:52.311" v="1548"/>
          <ac:spMkLst>
            <pc:docMk/>
            <pc:sldMk cId="2073125091" sldId="268"/>
            <ac:spMk id="2" creationId="{B2C22B93-CF45-EC52-A6F5-C1D0C1AB1DF2}"/>
          </ac:spMkLst>
        </pc:spChg>
        <pc:spChg chg="mod">
          <ac:chgData name="Pablo Ignacio Aguirre Muñoz" userId="a8473d96-f1aa-4c65-bd87-43f207d829a7" providerId="ADAL" clId="{C9C08E5F-D1DD-4EB7-9998-1BA91BAC664E}" dt="2024-08-31T14:03:51.864" v="1939" actId="108"/>
          <ac:spMkLst>
            <pc:docMk/>
            <pc:sldMk cId="2073125091" sldId="268"/>
            <ac:spMk id="3" creationId="{BBEB38A1-8FA5-0395-4A72-61ACE91629FE}"/>
          </ac:spMkLst>
        </pc:spChg>
        <pc:spChg chg="add mod">
          <ac:chgData name="Pablo Ignacio Aguirre Muñoz" userId="a8473d96-f1aa-4c65-bd87-43f207d829a7" providerId="ADAL" clId="{C9C08E5F-D1DD-4EB7-9998-1BA91BAC664E}" dt="2024-08-31T13:40:52.800" v="1549" actId="948"/>
          <ac:spMkLst>
            <pc:docMk/>
            <pc:sldMk cId="2073125091" sldId="268"/>
            <ac:spMk id="5" creationId="{7DA473E0-7C34-A3CB-95CE-D34EE0F82A58}"/>
          </ac:spMkLst>
        </pc:spChg>
        <pc:spChg chg="add">
          <ac:chgData name="Pablo Ignacio Aguirre Muñoz" userId="a8473d96-f1aa-4c65-bd87-43f207d829a7" providerId="ADAL" clId="{C9C08E5F-D1DD-4EB7-9998-1BA91BAC664E}" dt="2024-08-31T13:40:45.731" v="1533" actId="26606"/>
          <ac:spMkLst>
            <pc:docMk/>
            <pc:sldMk cId="2073125091" sldId="268"/>
            <ac:spMk id="8" creationId="{DAF1966E-FD40-4A4A-B61B-C4DF7FA05F06}"/>
          </ac:spMkLst>
        </pc:spChg>
        <pc:spChg chg="add">
          <ac:chgData name="Pablo Ignacio Aguirre Muñoz" userId="a8473d96-f1aa-4c65-bd87-43f207d829a7" providerId="ADAL" clId="{C9C08E5F-D1DD-4EB7-9998-1BA91BAC664E}" dt="2024-08-31T13:40:45.731" v="1533" actId="26606"/>
          <ac:spMkLst>
            <pc:docMk/>
            <pc:sldMk cId="2073125091" sldId="268"/>
            <ac:spMk id="10" creationId="{047BFA19-D45E-416B-A404-7AF2F3F27017}"/>
          </ac:spMkLst>
        </pc:spChg>
        <pc:spChg chg="add del">
          <ac:chgData name="Pablo Ignacio Aguirre Muñoz" userId="a8473d96-f1aa-4c65-bd87-43f207d829a7" providerId="ADAL" clId="{C9C08E5F-D1DD-4EB7-9998-1BA91BAC664E}" dt="2024-08-31T13:41:14.926" v="1562" actId="22"/>
          <ac:spMkLst>
            <pc:docMk/>
            <pc:sldMk cId="2073125091" sldId="268"/>
            <ac:spMk id="11" creationId="{5D02058E-0E3B-2102-224A-D367613E1C6A}"/>
          </ac:spMkLst>
        </pc:spChg>
        <pc:spChg chg="add">
          <ac:chgData name="Pablo Ignacio Aguirre Muñoz" userId="a8473d96-f1aa-4c65-bd87-43f207d829a7" providerId="ADAL" clId="{C9C08E5F-D1DD-4EB7-9998-1BA91BAC664E}" dt="2024-08-31T13:40:45.731" v="1533" actId="26606"/>
          <ac:spMkLst>
            <pc:docMk/>
            <pc:sldMk cId="2073125091" sldId="268"/>
            <ac:spMk id="12" creationId="{8E0105E7-23DB-4CF2-8258-FF47C7620F6E}"/>
          </ac:spMkLst>
        </pc:spChg>
        <pc:spChg chg="add">
          <ac:chgData name="Pablo Ignacio Aguirre Muñoz" userId="a8473d96-f1aa-4c65-bd87-43f207d829a7" providerId="ADAL" clId="{C9C08E5F-D1DD-4EB7-9998-1BA91BAC664E}" dt="2024-08-31T13:40:45.731" v="1533" actId="26606"/>
          <ac:spMkLst>
            <pc:docMk/>
            <pc:sldMk cId="2073125091" sldId="268"/>
            <ac:spMk id="14" creationId="{074B4F7D-14B2-478B-8BF5-01E4E0C5D263}"/>
          </ac:spMkLst>
        </pc:spChg>
        <pc:spChg chg="add del">
          <ac:chgData name="Pablo Ignacio Aguirre Muñoz" userId="a8473d96-f1aa-4c65-bd87-43f207d829a7" providerId="ADAL" clId="{C9C08E5F-D1DD-4EB7-9998-1BA91BAC664E}" dt="2024-08-31T13:51:21.526" v="1676" actId="478"/>
          <ac:spMkLst>
            <pc:docMk/>
            <pc:sldMk cId="2073125091" sldId="268"/>
            <ac:spMk id="15" creationId="{C7F38238-1655-FBCC-7B08-CA383235C3EC}"/>
          </ac:spMkLst>
        </pc:spChg>
        <pc:spChg chg="add mod">
          <ac:chgData name="Pablo Ignacio Aguirre Muñoz" userId="a8473d96-f1aa-4c65-bd87-43f207d829a7" providerId="ADAL" clId="{C9C08E5F-D1DD-4EB7-9998-1BA91BAC664E}" dt="2024-08-31T14:04:28.954" v="1956" actId="1076"/>
          <ac:spMkLst>
            <pc:docMk/>
            <pc:sldMk cId="2073125091" sldId="268"/>
            <ac:spMk id="16" creationId="{1BC5E07A-6FFE-B756-6DF9-DFE0683B5DA5}"/>
          </ac:spMkLst>
        </pc:spChg>
        <pc:graphicFrameChg chg="add mod ord modVis">
          <ac:chgData name="Pablo Ignacio Aguirre Muñoz" userId="a8473d96-f1aa-4c65-bd87-43f207d829a7" providerId="ADAL" clId="{C9C08E5F-D1DD-4EB7-9998-1BA91BAC664E}" dt="2024-08-31T13:40:52.813" v="1551"/>
          <ac:graphicFrameMkLst>
            <pc:docMk/>
            <pc:sldMk cId="2073125091" sldId="268"/>
            <ac:graphicFrameMk id="4" creationId="{AD974076-56AC-C9A5-4806-F48164AD811B}"/>
          </ac:graphicFrameMkLst>
        </pc:graphicFrameChg>
        <pc:picChg chg="add mod">
          <ac:chgData name="Pablo Ignacio Aguirre Muñoz" userId="a8473d96-f1aa-4c65-bd87-43f207d829a7" providerId="ADAL" clId="{C9C08E5F-D1DD-4EB7-9998-1BA91BAC664E}" dt="2024-08-31T13:41:03.437" v="1560"/>
          <ac:picMkLst>
            <pc:docMk/>
            <pc:sldMk cId="2073125091" sldId="268"/>
            <ac:picMk id="6" creationId="{AE614D4F-FA44-7D94-B0F1-1042062D6905}"/>
          </ac:picMkLst>
        </pc:picChg>
        <pc:picChg chg="add mod">
          <ac:chgData name="Pablo Ignacio Aguirre Muñoz" userId="a8473d96-f1aa-4c65-bd87-43f207d829a7" providerId="ADAL" clId="{C9C08E5F-D1DD-4EB7-9998-1BA91BAC664E}" dt="2024-08-31T13:41:03.437" v="1560"/>
          <ac:picMkLst>
            <pc:docMk/>
            <pc:sldMk cId="2073125091" sldId="268"/>
            <ac:picMk id="7" creationId="{D1CDD393-DF67-76C8-03DE-27E127234AD9}"/>
          </ac:picMkLst>
        </pc:picChg>
      </pc:sldChg>
      <pc:sldChg chg="modSp add mod">
        <pc:chgData name="Pablo Ignacio Aguirre Muñoz" userId="a8473d96-f1aa-4c65-bd87-43f207d829a7" providerId="ADAL" clId="{C9C08E5F-D1DD-4EB7-9998-1BA91BAC664E}" dt="2024-09-14T14:06:32.835" v="2632" actId="20577"/>
        <pc:sldMkLst>
          <pc:docMk/>
          <pc:sldMk cId="4017078534" sldId="269"/>
        </pc:sldMkLst>
        <pc:spChg chg="mod">
          <ac:chgData name="Pablo Ignacio Aguirre Muñoz" userId="a8473d96-f1aa-4c65-bd87-43f207d829a7" providerId="ADAL" clId="{C9C08E5F-D1DD-4EB7-9998-1BA91BAC664E}" dt="2024-09-14T14:06:32.835" v="2632" actId="20577"/>
          <ac:spMkLst>
            <pc:docMk/>
            <pc:sldMk cId="4017078534" sldId="269"/>
            <ac:spMk id="3" creationId="{BB0E8C08-97EE-E36A-38C2-AA55C14A4CEB}"/>
          </ac:spMkLst>
        </pc:spChg>
      </pc:sldChg>
      <pc:sldChg chg="addSp delSp modSp add mod">
        <pc:chgData name="Pablo Ignacio Aguirre Muñoz" userId="a8473d96-f1aa-4c65-bd87-43f207d829a7" providerId="ADAL" clId="{C9C08E5F-D1DD-4EB7-9998-1BA91BAC664E}" dt="2024-09-16T00:16:13.671" v="3336" actId="14100"/>
        <pc:sldMkLst>
          <pc:docMk/>
          <pc:sldMk cId="3869747838" sldId="270"/>
        </pc:sldMkLst>
        <pc:spChg chg="mod">
          <ac:chgData name="Pablo Ignacio Aguirre Muñoz" userId="a8473d96-f1aa-4c65-bd87-43f207d829a7" providerId="ADAL" clId="{C9C08E5F-D1DD-4EB7-9998-1BA91BAC664E}" dt="2024-09-14T14:07:36.888" v="2801" actId="948"/>
          <ac:spMkLst>
            <pc:docMk/>
            <pc:sldMk cId="3869747838" sldId="270"/>
            <ac:spMk id="2" creationId="{28547C12-267B-A48E-F359-67B2206F55CC}"/>
          </ac:spMkLst>
        </pc:spChg>
        <pc:spChg chg="add del mod modVis">
          <ac:chgData name="Pablo Ignacio Aguirre Muñoz" userId="a8473d96-f1aa-4c65-bd87-43f207d829a7" providerId="ADAL" clId="{C9C08E5F-D1DD-4EB7-9998-1BA91BAC664E}" dt="2024-09-14T14:07:31.503" v="2667"/>
          <ac:spMkLst>
            <pc:docMk/>
            <pc:sldMk cId="3869747838" sldId="270"/>
            <ac:spMk id="3" creationId="{5AB9D47A-E557-E6BF-1F5D-3D61F4353FC9}"/>
          </ac:spMkLst>
        </pc:spChg>
        <pc:spChg chg="add del mod modVis">
          <ac:chgData name="Pablo Ignacio Aguirre Muñoz" userId="a8473d96-f1aa-4c65-bd87-43f207d829a7" providerId="ADAL" clId="{C9C08E5F-D1DD-4EB7-9998-1BA91BAC664E}" dt="2024-09-14T14:07:32.202" v="2692"/>
          <ac:spMkLst>
            <pc:docMk/>
            <pc:sldMk cId="3869747838" sldId="270"/>
            <ac:spMk id="7" creationId="{60A626E0-6821-01B4-7655-3396B3D35C99}"/>
          </ac:spMkLst>
        </pc:spChg>
        <pc:spChg chg="add del mod modVis">
          <ac:chgData name="Pablo Ignacio Aguirre Muñoz" userId="a8473d96-f1aa-4c65-bd87-43f207d829a7" providerId="ADAL" clId="{C9C08E5F-D1DD-4EB7-9998-1BA91BAC664E}" dt="2024-09-14T14:07:33.016" v="2718"/>
          <ac:spMkLst>
            <pc:docMk/>
            <pc:sldMk cId="3869747838" sldId="270"/>
            <ac:spMk id="9" creationId="{F9821D9F-A293-F773-4ABB-D49B8C4C1D68}"/>
          </ac:spMkLst>
        </pc:spChg>
        <pc:spChg chg="add del mod modVis">
          <ac:chgData name="Pablo Ignacio Aguirre Muñoz" userId="a8473d96-f1aa-4c65-bd87-43f207d829a7" providerId="ADAL" clId="{C9C08E5F-D1DD-4EB7-9998-1BA91BAC664E}" dt="2024-09-14T14:07:34.286" v="2745"/>
          <ac:spMkLst>
            <pc:docMk/>
            <pc:sldMk cId="3869747838" sldId="270"/>
            <ac:spMk id="11" creationId="{B4543B4A-564E-F1C9-74D2-46472B93168E}"/>
          </ac:spMkLst>
        </pc:spChg>
        <pc:spChg chg="add del mod modVis">
          <ac:chgData name="Pablo Ignacio Aguirre Muñoz" userId="a8473d96-f1aa-4c65-bd87-43f207d829a7" providerId="ADAL" clId="{C9C08E5F-D1DD-4EB7-9998-1BA91BAC664E}" dt="2024-09-14T14:07:34.972" v="2770"/>
          <ac:spMkLst>
            <pc:docMk/>
            <pc:sldMk cId="3869747838" sldId="270"/>
            <ac:spMk id="13" creationId="{CEF2CBA5-736F-7187-22D3-AF48B0241A04}"/>
          </ac:spMkLst>
        </pc:spChg>
        <pc:spChg chg="add del mod modVis">
          <ac:chgData name="Pablo Ignacio Aguirre Muñoz" userId="a8473d96-f1aa-4c65-bd87-43f207d829a7" providerId="ADAL" clId="{C9C08E5F-D1DD-4EB7-9998-1BA91BAC664E}" dt="2024-09-14T14:07:35.670" v="2795"/>
          <ac:spMkLst>
            <pc:docMk/>
            <pc:sldMk cId="3869747838" sldId="270"/>
            <ac:spMk id="16" creationId="{AD602641-BABC-3B73-3C85-24333FA483B6}"/>
          </ac:spMkLst>
        </pc:spChg>
        <pc:spChg chg="add del mod modVis">
          <ac:chgData name="Pablo Ignacio Aguirre Muñoz" userId="a8473d96-f1aa-4c65-bd87-43f207d829a7" providerId="ADAL" clId="{C9C08E5F-D1DD-4EB7-9998-1BA91BAC664E}" dt="2024-09-14T14:07:36.907" v="2822"/>
          <ac:spMkLst>
            <pc:docMk/>
            <pc:sldMk cId="3869747838" sldId="270"/>
            <ac:spMk id="18" creationId="{1B85B047-0C6A-6FA9-1C22-88C8385A6B6B}"/>
          </ac:spMkLst>
        </pc:spChg>
        <pc:spChg chg="add del mod">
          <ac:chgData name="Pablo Ignacio Aguirre Muñoz" userId="a8473d96-f1aa-4c65-bd87-43f207d829a7" providerId="ADAL" clId="{C9C08E5F-D1DD-4EB7-9998-1BA91BAC664E}" dt="2024-09-14T14:07:41.235" v="2826" actId="478"/>
          <ac:spMkLst>
            <pc:docMk/>
            <pc:sldMk cId="3869747838" sldId="270"/>
            <ac:spMk id="20" creationId="{ED3699C1-11E0-46B4-1A11-4FEA0E54F496}"/>
          </ac:spMkLst>
        </pc:spChg>
        <pc:graphicFrameChg chg="mod">
          <ac:chgData name="Pablo Ignacio Aguirre Muñoz" userId="a8473d96-f1aa-4c65-bd87-43f207d829a7" providerId="ADAL" clId="{C9C08E5F-D1DD-4EB7-9998-1BA91BAC664E}" dt="2024-09-14T14:07:36.909" v="2824"/>
          <ac:graphicFrameMkLst>
            <pc:docMk/>
            <pc:sldMk cId="3869747838" sldId="270"/>
            <ac:graphicFrameMk id="4" creationId="{D684DFBC-146D-F5D7-4F03-4EC3D48F7475}"/>
          </ac:graphicFrameMkLst>
        </pc:graphicFrameChg>
        <pc:picChg chg="add mod">
          <ac:chgData name="Pablo Ignacio Aguirre Muñoz" userId="a8473d96-f1aa-4c65-bd87-43f207d829a7" providerId="ADAL" clId="{C9C08E5F-D1DD-4EB7-9998-1BA91BAC664E}" dt="2024-09-16T00:16:13.671" v="3336" actId="14100"/>
          <ac:picMkLst>
            <pc:docMk/>
            <pc:sldMk cId="3869747838" sldId="270"/>
            <ac:picMk id="3" creationId="{C04E8DFB-564A-7452-60C3-6EFDF6D05E43}"/>
          </ac:picMkLst>
        </pc:picChg>
        <pc:picChg chg="del">
          <ac:chgData name="Pablo Ignacio Aguirre Muñoz" userId="a8473d96-f1aa-4c65-bd87-43f207d829a7" providerId="ADAL" clId="{C9C08E5F-D1DD-4EB7-9998-1BA91BAC664E}" dt="2024-09-14T14:07:38.338" v="2825" actId="478"/>
          <ac:picMkLst>
            <pc:docMk/>
            <pc:sldMk cId="3869747838" sldId="270"/>
            <ac:picMk id="17" creationId="{1220195C-9304-E961-866E-81298CFE0F76}"/>
          </ac:picMkLst>
        </pc:picChg>
      </pc:sldChg>
      <pc:sldChg chg="addSp delSp modSp add mod">
        <pc:chgData name="Pablo Ignacio Aguirre Muñoz" userId="a8473d96-f1aa-4c65-bd87-43f207d829a7" providerId="ADAL" clId="{C9C08E5F-D1DD-4EB7-9998-1BA91BAC664E}" dt="2024-09-14T14:22:11.375" v="3263" actId="5793"/>
        <pc:sldMkLst>
          <pc:docMk/>
          <pc:sldMk cId="460399776" sldId="271"/>
        </pc:sldMkLst>
        <pc:spChg chg="mod">
          <ac:chgData name="Pablo Ignacio Aguirre Muñoz" userId="a8473d96-f1aa-4c65-bd87-43f207d829a7" providerId="ADAL" clId="{C9C08E5F-D1DD-4EB7-9998-1BA91BAC664E}" dt="2024-09-14T14:08:04.020" v="2870" actId="948"/>
          <ac:spMkLst>
            <pc:docMk/>
            <pc:sldMk cId="460399776" sldId="271"/>
            <ac:spMk id="2" creationId="{28547C12-267B-A48E-F359-67B2206F55CC}"/>
          </ac:spMkLst>
        </pc:spChg>
        <pc:spChg chg="add del mod modVis">
          <ac:chgData name="Pablo Ignacio Aguirre Muñoz" userId="a8473d96-f1aa-4c65-bd87-43f207d829a7" providerId="ADAL" clId="{C9C08E5F-D1DD-4EB7-9998-1BA91BAC664E}" dt="2024-09-14T14:08:02.629" v="2863"/>
          <ac:spMkLst>
            <pc:docMk/>
            <pc:sldMk cId="460399776" sldId="271"/>
            <ac:spMk id="3" creationId="{BDC53C2C-B3F1-5161-0A16-DE6344D93EE7}"/>
          </ac:spMkLst>
        </pc:spChg>
        <pc:spChg chg="add del mod modVis">
          <ac:chgData name="Pablo Ignacio Aguirre Muñoz" userId="a8473d96-f1aa-4c65-bd87-43f207d829a7" providerId="ADAL" clId="{C9C08E5F-D1DD-4EB7-9998-1BA91BAC664E}" dt="2024-09-14T14:08:04.039" v="2891"/>
          <ac:spMkLst>
            <pc:docMk/>
            <pc:sldMk cId="460399776" sldId="271"/>
            <ac:spMk id="7" creationId="{DFB5EDC9-2080-7579-691C-146EFE03FA66}"/>
          </ac:spMkLst>
        </pc:spChg>
        <pc:spChg chg="add mod">
          <ac:chgData name="Pablo Ignacio Aguirre Muñoz" userId="a8473d96-f1aa-4c65-bd87-43f207d829a7" providerId="ADAL" clId="{C9C08E5F-D1DD-4EB7-9998-1BA91BAC664E}" dt="2024-09-14T14:22:11.375" v="3263" actId="5793"/>
          <ac:spMkLst>
            <pc:docMk/>
            <pc:sldMk cId="460399776" sldId="271"/>
            <ac:spMk id="11" creationId="{F565BC08-B2BB-1ECB-6D9A-DA6E6048DB8F}"/>
          </ac:spMkLst>
        </pc:spChg>
        <pc:graphicFrameChg chg="mod">
          <ac:chgData name="Pablo Ignacio Aguirre Muñoz" userId="a8473d96-f1aa-4c65-bd87-43f207d829a7" providerId="ADAL" clId="{C9C08E5F-D1DD-4EB7-9998-1BA91BAC664E}" dt="2024-09-14T14:08:04.043" v="2893"/>
          <ac:graphicFrameMkLst>
            <pc:docMk/>
            <pc:sldMk cId="460399776" sldId="271"/>
            <ac:graphicFrameMk id="4" creationId="{D684DFBC-146D-F5D7-4F03-4EC3D48F7475}"/>
          </ac:graphicFrameMkLst>
        </pc:graphicFrameChg>
        <pc:graphicFrameChg chg="add mod modGraphic">
          <ac:chgData name="Pablo Ignacio Aguirre Muñoz" userId="a8473d96-f1aa-4c65-bd87-43f207d829a7" providerId="ADAL" clId="{C9C08E5F-D1DD-4EB7-9998-1BA91BAC664E}" dt="2024-09-14T14:09:49.414" v="2944" actId="122"/>
          <ac:graphicFrameMkLst>
            <pc:docMk/>
            <pc:sldMk cId="460399776" sldId="271"/>
            <ac:graphicFrameMk id="9" creationId="{8E8AF346-C071-08D7-0D68-A6F59DC907E5}"/>
          </ac:graphicFrameMkLst>
        </pc:graphicFrameChg>
      </pc:sldChg>
      <pc:sldChg chg="addSp modSp add mod ord">
        <pc:chgData name="Pablo Ignacio Aguirre Muñoz" userId="a8473d96-f1aa-4c65-bd87-43f207d829a7" providerId="ADAL" clId="{C9C08E5F-D1DD-4EB7-9998-1BA91BAC664E}" dt="2024-09-14T14:21:32.028" v="3254" actId="20577"/>
        <pc:sldMkLst>
          <pc:docMk/>
          <pc:sldMk cId="579737220" sldId="272"/>
        </pc:sldMkLst>
        <pc:spChg chg="mod">
          <ac:chgData name="Pablo Ignacio Aguirre Muñoz" userId="a8473d96-f1aa-4c65-bd87-43f207d829a7" providerId="ADAL" clId="{C9C08E5F-D1DD-4EB7-9998-1BA91BAC664E}" dt="2024-09-14T14:10:44.308" v="2994" actId="948"/>
          <ac:spMkLst>
            <pc:docMk/>
            <pc:sldMk cId="579737220" sldId="272"/>
            <ac:spMk id="2" creationId="{28547C12-267B-A48E-F359-67B2206F55CC}"/>
          </ac:spMkLst>
        </pc:spChg>
        <pc:spChg chg="add mod">
          <ac:chgData name="Pablo Ignacio Aguirre Muñoz" userId="a8473d96-f1aa-4c65-bd87-43f207d829a7" providerId="ADAL" clId="{C9C08E5F-D1DD-4EB7-9998-1BA91BAC664E}" dt="2024-09-14T14:20:20.527" v="3201" actId="20577"/>
          <ac:spMkLst>
            <pc:docMk/>
            <pc:sldMk cId="579737220" sldId="272"/>
            <ac:spMk id="3" creationId="{188684AF-1DCF-4075-B92A-F389EEF76F32}"/>
          </ac:spMkLst>
        </pc:spChg>
        <pc:graphicFrameChg chg="mod">
          <ac:chgData name="Pablo Ignacio Aguirre Muñoz" userId="a8473d96-f1aa-4c65-bd87-43f207d829a7" providerId="ADAL" clId="{C9C08E5F-D1DD-4EB7-9998-1BA91BAC664E}" dt="2024-09-14T14:10:44.314" v="2996"/>
          <ac:graphicFrameMkLst>
            <pc:docMk/>
            <pc:sldMk cId="579737220" sldId="272"/>
            <ac:graphicFrameMk id="4" creationId="{D684DFBC-146D-F5D7-4F03-4EC3D48F7475}"/>
          </ac:graphicFrameMkLst>
        </pc:graphicFrameChg>
        <pc:graphicFrameChg chg="add mod modGraphic">
          <ac:chgData name="Pablo Ignacio Aguirre Muñoz" userId="a8473d96-f1aa-4c65-bd87-43f207d829a7" providerId="ADAL" clId="{C9C08E5F-D1DD-4EB7-9998-1BA91BAC664E}" dt="2024-09-14T14:21:32.028" v="3254" actId="20577"/>
          <ac:graphicFrameMkLst>
            <pc:docMk/>
            <pc:sldMk cId="579737220" sldId="272"/>
            <ac:graphicFrameMk id="7" creationId="{23033B51-0A3A-CB33-0B20-71BDE293F63D}"/>
          </ac:graphicFrameMkLst>
        </pc:graphicFrameChg>
      </pc:sldChg>
      <pc:sldChg chg="addSp delSp modSp add mod">
        <pc:chgData name="Pablo Ignacio Aguirre Muñoz" userId="a8473d96-f1aa-4c65-bd87-43f207d829a7" providerId="ADAL" clId="{C9C08E5F-D1DD-4EB7-9998-1BA91BAC664E}" dt="2024-09-14T14:19:05.268" v="3117" actId="20577"/>
        <pc:sldMkLst>
          <pc:docMk/>
          <pc:sldMk cId="2843728164" sldId="273"/>
        </pc:sldMkLst>
        <pc:spChg chg="mod">
          <ac:chgData name="Pablo Ignacio Aguirre Muñoz" userId="a8473d96-f1aa-4c65-bd87-43f207d829a7" providerId="ADAL" clId="{C9C08E5F-D1DD-4EB7-9998-1BA91BAC664E}" dt="2024-09-14T14:18:41.787" v="3080" actId="948"/>
          <ac:spMkLst>
            <pc:docMk/>
            <pc:sldMk cId="2843728164" sldId="273"/>
            <ac:spMk id="2" creationId="{28547C12-267B-A48E-F359-67B2206F55CC}"/>
          </ac:spMkLst>
        </pc:spChg>
        <pc:spChg chg="mod">
          <ac:chgData name="Pablo Ignacio Aguirre Muñoz" userId="a8473d96-f1aa-4c65-bd87-43f207d829a7" providerId="ADAL" clId="{C9C08E5F-D1DD-4EB7-9998-1BA91BAC664E}" dt="2024-09-14T14:19:05.268" v="3117" actId="20577"/>
          <ac:spMkLst>
            <pc:docMk/>
            <pc:sldMk cId="2843728164" sldId="273"/>
            <ac:spMk id="3" creationId="{188684AF-1DCF-4075-B92A-F389EEF76F32}"/>
          </ac:spMkLst>
        </pc:spChg>
        <pc:spChg chg="add del mod modVis">
          <ac:chgData name="Pablo Ignacio Aguirre Muñoz" userId="a8473d96-f1aa-4c65-bd87-43f207d829a7" providerId="ADAL" clId="{C9C08E5F-D1DD-4EB7-9998-1BA91BAC664E}" dt="2024-09-14T14:18:41.808" v="3101"/>
          <ac:spMkLst>
            <pc:docMk/>
            <pc:sldMk cId="2843728164" sldId="273"/>
            <ac:spMk id="7" creationId="{9E8644B5-C9FE-278E-0D27-3B3E086BD8DC}"/>
          </ac:spMkLst>
        </pc:spChg>
        <pc:graphicFrameChg chg="mod">
          <ac:chgData name="Pablo Ignacio Aguirre Muñoz" userId="a8473d96-f1aa-4c65-bd87-43f207d829a7" providerId="ADAL" clId="{C9C08E5F-D1DD-4EB7-9998-1BA91BAC664E}" dt="2024-09-14T14:18:41.811" v="3103"/>
          <ac:graphicFrameMkLst>
            <pc:docMk/>
            <pc:sldMk cId="2843728164" sldId="273"/>
            <ac:graphicFrameMk id="4" creationId="{D684DFBC-146D-F5D7-4F03-4EC3D48F7475}"/>
          </ac:graphicFrameMkLst>
        </pc:graphicFrameChg>
      </pc:sldChg>
      <pc:sldChg chg="addSp delSp modSp add del mod">
        <pc:chgData name="Pablo Ignacio Aguirre Muñoz" userId="a8473d96-f1aa-4c65-bd87-43f207d829a7" providerId="ADAL" clId="{C9C08E5F-D1DD-4EB7-9998-1BA91BAC664E}" dt="2024-09-15T23:59:54.615" v="3333" actId="47"/>
        <pc:sldMkLst>
          <pc:docMk/>
          <pc:sldMk cId="2437233637" sldId="274"/>
        </pc:sldMkLst>
        <pc:spChg chg="del">
          <ac:chgData name="Pablo Ignacio Aguirre Muñoz" userId="a8473d96-f1aa-4c65-bd87-43f207d829a7" providerId="ADAL" clId="{C9C08E5F-D1DD-4EB7-9998-1BA91BAC664E}" dt="2024-09-15T23:58:51.394" v="3327" actId="478"/>
          <ac:spMkLst>
            <pc:docMk/>
            <pc:sldMk cId="2437233637" sldId="274"/>
            <ac:spMk id="2" creationId="{28547C12-267B-A48E-F359-67B2206F55CC}"/>
          </ac:spMkLst>
        </pc:spChg>
        <pc:spChg chg="add del mod">
          <ac:chgData name="Pablo Ignacio Aguirre Muñoz" userId="a8473d96-f1aa-4c65-bd87-43f207d829a7" providerId="ADAL" clId="{C9C08E5F-D1DD-4EB7-9998-1BA91BAC664E}" dt="2024-09-15T23:58:54.856" v="3330" actId="478"/>
          <ac:spMkLst>
            <pc:docMk/>
            <pc:sldMk cId="2437233637" sldId="274"/>
            <ac:spMk id="9" creationId="{B85F3278-4052-BDD5-9A71-1DD959EAC0DC}"/>
          </ac:spMkLst>
        </pc:spChg>
        <pc:graphicFrameChg chg="mod">
          <ac:chgData name="Pablo Ignacio Aguirre Muñoz" userId="a8473d96-f1aa-4c65-bd87-43f207d829a7" providerId="ADAL" clId="{C9C08E5F-D1DD-4EB7-9998-1BA91BAC664E}" dt="2024-09-15T23:58:55.406" v="3332"/>
          <ac:graphicFrameMkLst>
            <pc:docMk/>
            <pc:sldMk cId="2437233637" sldId="274"/>
            <ac:graphicFrameMk id="4" creationId="{D684DFBC-146D-F5D7-4F03-4EC3D48F7475}"/>
          </ac:graphicFrameMkLst>
        </pc:graphicFrameChg>
      </pc:sldChg>
    </pc:docChg>
  </pc:docChgLst>
  <pc:docChgLst>
    <pc:chgData name="Pablo Ignacio Aguirre Muñoz" userId="a8473d96-f1aa-4c65-bd87-43f207d829a7" providerId="ADAL" clId="{534E23DD-9840-4232-A478-CB84050D85E3}"/>
    <pc:docChg chg="custSel modSld">
      <pc:chgData name="Pablo Ignacio Aguirre Muñoz" userId="a8473d96-f1aa-4c65-bd87-43f207d829a7" providerId="ADAL" clId="{534E23DD-9840-4232-A478-CB84050D85E3}" dt="2024-10-26T18:35:42.863" v="5" actId="1076"/>
      <pc:docMkLst>
        <pc:docMk/>
      </pc:docMkLst>
      <pc:sldChg chg="addSp delSp modSp mod">
        <pc:chgData name="Pablo Ignacio Aguirre Muñoz" userId="a8473d96-f1aa-4c65-bd87-43f207d829a7" providerId="ADAL" clId="{534E23DD-9840-4232-A478-CB84050D85E3}" dt="2024-10-26T18:35:42.863" v="5" actId="1076"/>
        <pc:sldMkLst>
          <pc:docMk/>
          <pc:sldMk cId="539066327" sldId="267"/>
        </pc:sldMkLst>
        <pc:picChg chg="add mod">
          <ac:chgData name="Pablo Ignacio Aguirre Muñoz" userId="a8473d96-f1aa-4c65-bd87-43f207d829a7" providerId="ADAL" clId="{534E23DD-9840-4232-A478-CB84050D85E3}" dt="2024-10-26T18:35:42.863" v="5" actId="1076"/>
          <ac:picMkLst>
            <pc:docMk/>
            <pc:sldMk cId="539066327" sldId="267"/>
            <ac:picMk id="7" creationId="{C9663B6E-0E46-B34B-2FB8-ADC00BB3F858}"/>
          </ac:picMkLst>
        </pc:picChg>
        <pc:picChg chg="del">
          <ac:chgData name="Pablo Ignacio Aguirre Muñoz" userId="a8473d96-f1aa-4c65-bd87-43f207d829a7" providerId="ADAL" clId="{534E23DD-9840-4232-A478-CB84050D85E3}" dt="2024-10-26T18:35:29.283" v="0" actId="478"/>
          <ac:picMkLst>
            <pc:docMk/>
            <pc:sldMk cId="539066327" sldId="267"/>
            <ac:picMk id="11" creationId="{015D2AA7-5EF8-9C32-78CF-4958DDE4FA2C}"/>
          </ac:picMkLst>
        </pc:picChg>
      </pc:sldChg>
    </pc:docChg>
  </pc:docChgLst>
</pc:chgInfo>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3280DDE4-005B-1314-1D42-E7B71416EEF5}"/>
              </a:ext>
            </a:extLst>
          </p:cNvPr>
          <p:cNvSpPr>
            <a:spLocks noGrp="1"/>
          </p:cNvSpPr>
          <p:nvPr>
            <p:ph type="ctrTitle"/>
          </p:nvPr>
        </p:nvSpPr>
        <p:spPr>
          <a:xfrm>
            <a:off x="1524000" y="1122363"/>
            <a:ext cx="9144000" cy="2387600"/>
          </a:xfrm>
        </p:spPr>
        <p:txBody>
          <a:bodyPr anchor="b"/>
          <a:lstStyle>
            <a:lvl1pPr algn="ctr">
              <a:defRPr sz="6000"/>
            </a:lvl1pPr>
          </a:lstStyle>
          <a:p>
            <a:r>
              <a:rPr lang="es-ES"/>
              <a:t>Haga clic para modificar el estilo de título del patrón</a:t>
            </a:r>
            <a:endParaRPr lang="es-CL"/>
          </a:p>
        </p:txBody>
      </p:sp>
      <p:sp>
        <p:nvSpPr>
          <p:cNvPr id="3" name="Subtítulo 2">
            <a:extLst>
              <a:ext uri="{FF2B5EF4-FFF2-40B4-BE49-F238E27FC236}">
                <a16:creationId xmlns:a16="http://schemas.microsoft.com/office/drawing/2014/main" id="{FA1C02E0-2A95-9871-19EF-2B86C312F8A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modificar el estilo de subtítulo del patrón</a:t>
            </a:r>
            <a:endParaRPr lang="es-CL"/>
          </a:p>
        </p:txBody>
      </p:sp>
      <p:sp>
        <p:nvSpPr>
          <p:cNvPr id="4" name="Marcador de fecha 3">
            <a:extLst>
              <a:ext uri="{FF2B5EF4-FFF2-40B4-BE49-F238E27FC236}">
                <a16:creationId xmlns:a16="http://schemas.microsoft.com/office/drawing/2014/main" id="{DEA2030C-21EC-6298-D248-6BC481B0891F}"/>
              </a:ext>
            </a:extLst>
          </p:cNvPr>
          <p:cNvSpPr>
            <a:spLocks noGrp="1"/>
          </p:cNvSpPr>
          <p:nvPr>
            <p:ph type="dt" sz="half" idx="10"/>
          </p:nvPr>
        </p:nvSpPr>
        <p:spPr/>
        <p:txBody>
          <a:bodyPr/>
          <a:lstStyle/>
          <a:p>
            <a:fld id="{EBB99500-EDB6-484F-8B05-7B1B3C7067CA}" type="datetimeFigureOut">
              <a:rPr lang="es-CL" smtClean="0"/>
              <a:t>26-10-2024</a:t>
            </a:fld>
            <a:endParaRPr lang="es-CL"/>
          </a:p>
        </p:txBody>
      </p:sp>
      <p:sp>
        <p:nvSpPr>
          <p:cNvPr id="5" name="Marcador de pie de página 4">
            <a:extLst>
              <a:ext uri="{FF2B5EF4-FFF2-40B4-BE49-F238E27FC236}">
                <a16:creationId xmlns:a16="http://schemas.microsoft.com/office/drawing/2014/main" id="{0E787C78-4C48-DEEE-3100-5F8C1BB812D5}"/>
              </a:ext>
            </a:extLst>
          </p:cNvPr>
          <p:cNvSpPr>
            <a:spLocks noGrp="1"/>
          </p:cNvSpPr>
          <p:nvPr>
            <p:ph type="ftr" sz="quarter" idx="11"/>
          </p:nvPr>
        </p:nvSpPr>
        <p:spPr/>
        <p:txBody>
          <a:bodyPr/>
          <a:lstStyle/>
          <a:p>
            <a:endParaRPr lang="es-CL"/>
          </a:p>
        </p:txBody>
      </p:sp>
      <p:sp>
        <p:nvSpPr>
          <p:cNvPr id="6" name="Marcador de número de diapositiva 5">
            <a:extLst>
              <a:ext uri="{FF2B5EF4-FFF2-40B4-BE49-F238E27FC236}">
                <a16:creationId xmlns:a16="http://schemas.microsoft.com/office/drawing/2014/main" id="{46903C43-6D74-30D9-D509-5E6FE38A2B2A}"/>
              </a:ext>
            </a:extLst>
          </p:cNvPr>
          <p:cNvSpPr>
            <a:spLocks noGrp="1"/>
          </p:cNvSpPr>
          <p:nvPr>
            <p:ph type="sldNum" sz="quarter" idx="12"/>
          </p:nvPr>
        </p:nvSpPr>
        <p:spPr/>
        <p:txBody>
          <a:bodyPr/>
          <a:lstStyle/>
          <a:p>
            <a:fld id="{524463AD-4A8F-433B-B666-1711C50A5B75}" type="slidenum">
              <a:rPr lang="es-CL" smtClean="0"/>
              <a:t>‹Nº›</a:t>
            </a:fld>
            <a:endParaRPr lang="es-CL"/>
          </a:p>
        </p:txBody>
      </p:sp>
    </p:spTree>
    <p:extLst>
      <p:ext uri="{BB962C8B-B14F-4D97-AF65-F5344CB8AC3E}">
        <p14:creationId xmlns:p14="http://schemas.microsoft.com/office/powerpoint/2010/main" val="248515673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38293DFB-B179-F3B8-78EE-575571C7CA30}"/>
              </a:ext>
            </a:extLst>
          </p:cNvPr>
          <p:cNvSpPr>
            <a:spLocks noGrp="1"/>
          </p:cNvSpPr>
          <p:nvPr>
            <p:ph type="title"/>
          </p:nvPr>
        </p:nvSpPr>
        <p:spPr/>
        <p:txBody>
          <a:bodyPr/>
          <a:lstStyle/>
          <a:p>
            <a:r>
              <a:rPr lang="es-ES"/>
              <a:t>Haga clic para modificar el estilo de título del patrón</a:t>
            </a:r>
            <a:endParaRPr lang="es-CL"/>
          </a:p>
        </p:txBody>
      </p:sp>
      <p:sp>
        <p:nvSpPr>
          <p:cNvPr id="3" name="Marcador de texto vertical 2">
            <a:extLst>
              <a:ext uri="{FF2B5EF4-FFF2-40B4-BE49-F238E27FC236}">
                <a16:creationId xmlns:a16="http://schemas.microsoft.com/office/drawing/2014/main" id="{F697E0F9-F84A-5268-014D-F02BE40C03BA}"/>
              </a:ext>
            </a:extLst>
          </p:cNvPr>
          <p:cNvSpPr>
            <a:spLocks noGrp="1"/>
          </p:cNvSpPr>
          <p:nvPr>
            <p:ph type="body" orient="vert" idx="1"/>
          </p:nvPr>
        </p:nvSpPr>
        <p:spPr/>
        <p:txBody>
          <a:bodyPr vert="eaVert"/>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4" name="Marcador de fecha 3">
            <a:extLst>
              <a:ext uri="{FF2B5EF4-FFF2-40B4-BE49-F238E27FC236}">
                <a16:creationId xmlns:a16="http://schemas.microsoft.com/office/drawing/2014/main" id="{D4DD2291-4994-8B78-FD73-4B3B0AD117CF}"/>
              </a:ext>
            </a:extLst>
          </p:cNvPr>
          <p:cNvSpPr>
            <a:spLocks noGrp="1"/>
          </p:cNvSpPr>
          <p:nvPr>
            <p:ph type="dt" sz="half" idx="10"/>
          </p:nvPr>
        </p:nvSpPr>
        <p:spPr/>
        <p:txBody>
          <a:bodyPr/>
          <a:lstStyle/>
          <a:p>
            <a:fld id="{EBB99500-EDB6-484F-8B05-7B1B3C7067CA}" type="datetimeFigureOut">
              <a:rPr lang="es-CL" smtClean="0"/>
              <a:t>26-10-2024</a:t>
            </a:fld>
            <a:endParaRPr lang="es-CL"/>
          </a:p>
        </p:txBody>
      </p:sp>
      <p:sp>
        <p:nvSpPr>
          <p:cNvPr id="5" name="Marcador de pie de página 4">
            <a:extLst>
              <a:ext uri="{FF2B5EF4-FFF2-40B4-BE49-F238E27FC236}">
                <a16:creationId xmlns:a16="http://schemas.microsoft.com/office/drawing/2014/main" id="{304EE0D2-D797-07CC-990D-05999EDC460E}"/>
              </a:ext>
            </a:extLst>
          </p:cNvPr>
          <p:cNvSpPr>
            <a:spLocks noGrp="1"/>
          </p:cNvSpPr>
          <p:nvPr>
            <p:ph type="ftr" sz="quarter" idx="11"/>
          </p:nvPr>
        </p:nvSpPr>
        <p:spPr/>
        <p:txBody>
          <a:bodyPr/>
          <a:lstStyle/>
          <a:p>
            <a:endParaRPr lang="es-CL"/>
          </a:p>
        </p:txBody>
      </p:sp>
      <p:sp>
        <p:nvSpPr>
          <p:cNvPr id="6" name="Marcador de número de diapositiva 5">
            <a:extLst>
              <a:ext uri="{FF2B5EF4-FFF2-40B4-BE49-F238E27FC236}">
                <a16:creationId xmlns:a16="http://schemas.microsoft.com/office/drawing/2014/main" id="{CDB69B83-E6F7-888C-B240-57760E6E8C16}"/>
              </a:ext>
            </a:extLst>
          </p:cNvPr>
          <p:cNvSpPr>
            <a:spLocks noGrp="1"/>
          </p:cNvSpPr>
          <p:nvPr>
            <p:ph type="sldNum" sz="quarter" idx="12"/>
          </p:nvPr>
        </p:nvSpPr>
        <p:spPr/>
        <p:txBody>
          <a:bodyPr/>
          <a:lstStyle/>
          <a:p>
            <a:fld id="{524463AD-4A8F-433B-B666-1711C50A5B75}" type="slidenum">
              <a:rPr lang="es-CL" smtClean="0"/>
              <a:t>‹Nº›</a:t>
            </a:fld>
            <a:endParaRPr lang="es-CL"/>
          </a:p>
        </p:txBody>
      </p:sp>
    </p:spTree>
    <p:extLst>
      <p:ext uri="{BB962C8B-B14F-4D97-AF65-F5344CB8AC3E}">
        <p14:creationId xmlns:p14="http://schemas.microsoft.com/office/powerpoint/2010/main" val="422306470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Título vertical 1">
            <a:extLst>
              <a:ext uri="{FF2B5EF4-FFF2-40B4-BE49-F238E27FC236}">
                <a16:creationId xmlns:a16="http://schemas.microsoft.com/office/drawing/2014/main" id="{7787A190-FE1B-FCA2-CE03-59B83AC35C59}"/>
              </a:ext>
            </a:extLst>
          </p:cNvPr>
          <p:cNvSpPr>
            <a:spLocks noGrp="1"/>
          </p:cNvSpPr>
          <p:nvPr>
            <p:ph type="title" orient="vert"/>
          </p:nvPr>
        </p:nvSpPr>
        <p:spPr>
          <a:xfrm>
            <a:off x="8724900" y="365125"/>
            <a:ext cx="2628900" cy="5811838"/>
          </a:xfrm>
        </p:spPr>
        <p:txBody>
          <a:bodyPr vert="eaVert"/>
          <a:lstStyle/>
          <a:p>
            <a:r>
              <a:rPr lang="es-ES"/>
              <a:t>Haga clic para modificar el estilo de título del patrón</a:t>
            </a:r>
            <a:endParaRPr lang="es-CL"/>
          </a:p>
        </p:txBody>
      </p:sp>
      <p:sp>
        <p:nvSpPr>
          <p:cNvPr id="3" name="Marcador de texto vertical 2">
            <a:extLst>
              <a:ext uri="{FF2B5EF4-FFF2-40B4-BE49-F238E27FC236}">
                <a16:creationId xmlns:a16="http://schemas.microsoft.com/office/drawing/2014/main" id="{DB4E139F-6624-1411-00E5-779A376C0958}"/>
              </a:ext>
            </a:extLst>
          </p:cNvPr>
          <p:cNvSpPr>
            <a:spLocks noGrp="1"/>
          </p:cNvSpPr>
          <p:nvPr>
            <p:ph type="body" orient="vert" idx="1"/>
          </p:nvPr>
        </p:nvSpPr>
        <p:spPr>
          <a:xfrm>
            <a:off x="838200" y="365125"/>
            <a:ext cx="7734300" cy="5811838"/>
          </a:xfrm>
        </p:spPr>
        <p:txBody>
          <a:bodyPr vert="eaVert"/>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4" name="Marcador de fecha 3">
            <a:extLst>
              <a:ext uri="{FF2B5EF4-FFF2-40B4-BE49-F238E27FC236}">
                <a16:creationId xmlns:a16="http://schemas.microsoft.com/office/drawing/2014/main" id="{19462A18-78BF-B041-6BBE-D446696525D4}"/>
              </a:ext>
            </a:extLst>
          </p:cNvPr>
          <p:cNvSpPr>
            <a:spLocks noGrp="1"/>
          </p:cNvSpPr>
          <p:nvPr>
            <p:ph type="dt" sz="half" idx="10"/>
          </p:nvPr>
        </p:nvSpPr>
        <p:spPr/>
        <p:txBody>
          <a:bodyPr/>
          <a:lstStyle/>
          <a:p>
            <a:fld id="{EBB99500-EDB6-484F-8B05-7B1B3C7067CA}" type="datetimeFigureOut">
              <a:rPr lang="es-CL" smtClean="0"/>
              <a:t>26-10-2024</a:t>
            </a:fld>
            <a:endParaRPr lang="es-CL"/>
          </a:p>
        </p:txBody>
      </p:sp>
      <p:sp>
        <p:nvSpPr>
          <p:cNvPr id="5" name="Marcador de pie de página 4">
            <a:extLst>
              <a:ext uri="{FF2B5EF4-FFF2-40B4-BE49-F238E27FC236}">
                <a16:creationId xmlns:a16="http://schemas.microsoft.com/office/drawing/2014/main" id="{14718BF5-B6DF-B147-FD8A-FF7A0A3415B1}"/>
              </a:ext>
            </a:extLst>
          </p:cNvPr>
          <p:cNvSpPr>
            <a:spLocks noGrp="1"/>
          </p:cNvSpPr>
          <p:nvPr>
            <p:ph type="ftr" sz="quarter" idx="11"/>
          </p:nvPr>
        </p:nvSpPr>
        <p:spPr/>
        <p:txBody>
          <a:bodyPr/>
          <a:lstStyle/>
          <a:p>
            <a:endParaRPr lang="es-CL"/>
          </a:p>
        </p:txBody>
      </p:sp>
      <p:sp>
        <p:nvSpPr>
          <p:cNvPr id="6" name="Marcador de número de diapositiva 5">
            <a:extLst>
              <a:ext uri="{FF2B5EF4-FFF2-40B4-BE49-F238E27FC236}">
                <a16:creationId xmlns:a16="http://schemas.microsoft.com/office/drawing/2014/main" id="{11EBBE71-34A1-9F28-C53E-5241861EE3E6}"/>
              </a:ext>
            </a:extLst>
          </p:cNvPr>
          <p:cNvSpPr>
            <a:spLocks noGrp="1"/>
          </p:cNvSpPr>
          <p:nvPr>
            <p:ph type="sldNum" sz="quarter" idx="12"/>
          </p:nvPr>
        </p:nvSpPr>
        <p:spPr/>
        <p:txBody>
          <a:bodyPr/>
          <a:lstStyle/>
          <a:p>
            <a:fld id="{524463AD-4A8F-433B-B666-1711C50A5B75}" type="slidenum">
              <a:rPr lang="es-CL" smtClean="0"/>
              <a:t>‹Nº›</a:t>
            </a:fld>
            <a:endParaRPr lang="es-CL"/>
          </a:p>
        </p:txBody>
      </p:sp>
    </p:spTree>
    <p:extLst>
      <p:ext uri="{BB962C8B-B14F-4D97-AF65-F5344CB8AC3E}">
        <p14:creationId xmlns:p14="http://schemas.microsoft.com/office/powerpoint/2010/main" val="51453478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D9476EA0-57AB-82F5-410D-CAAC9FEC9579}"/>
              </a:ext>
            </a:extLst>
          </p:cNvPr>
          <p:cNvSpPr>
            <a:spLocks noGrp="1"/>
          </p:cNvSpPr>
          <p:nvPr>
            <p:ph type="title"/>
          </p:nvPr>
        </p:nvSpPr>
        <p:spPr/>
        <p:txBody>
          <a:bodyPr/>
          <a:lstStyle/>
          <a:p>
            <a:r>
              <a:rPr lang="es-ES"/>
              <a:t>Haga clic para modificar el estilo de título del patrón</a:t>
            </a:r>
            <a:endParaRPr lang="es-CL"/>
          </a:p>
        </p:txBody>
      </p:sp>
      <p:sp>
        <p:nvSpPr>
          <p:cNvPr id="3" name="Marcador de contenido 2">
            <a:extLst>
              <a:ext uri="{FF2B5EF4-FFF2-40B4-BE49-F238E27FC236}">
                <a16:creationId xmlns:a16="http://schemas.microsoft.com/office/drawing/2014/main" id="{8A973A8F-AB8E-34D3-9823-BCC279D548F5}"/>
              </a:ext>
            </a:extLst>
          </p:cNvPr>
          <p:cNvSpPr>
            <a:spLocks noGrp="1"/>
          </p:cNvSpPr>
          <p:nvPr>
            <p:ph idx="1"/>
          </p:nvPr>
        </p:nvSpPr>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4" name="Marcador de fecha 3">
            <a:extLst>
              <a:ext uri="{FF2B5EF4-FFF2-40B4-BE49-F238E27FC236}">
                <a16:creationId xmlns:a16="http://schemas.microsoft.com/office/drawing/2014/main" id="{102C6C05-6562-9365-D95F-6080D16DE5A5}"/>
              </a:ext>
            </a:extLst>
          </p:cNvPr>
          <p:cNvSpPr>
            <a:spLocks noGrp="1"/>
          </p:cNvSpPr>
          <p:nvPr>
            <p:ph type="dt" sz="half" idx="10"/>
          </p:nvPr>
        </p:nvSpPr>
        <p:spPr/>
        <p:txBody>
          <a:bodyPr/>
          <a:lstStyle/>
          <a:p>
            <a:fld id="{EBB99500-EDB6-484F-8B05-7B1B3C7067CA}" type="datetimeFigureOut">
              <a:rPr lang="es-CL" smtClean="0"/>
              <a:t>26-10-2024</a:t>
            </a:fld>
            <a:endParaRPr lang="es-CL"/>
          </a:p>
        </p:txBody>
      </p:sp>
      <p:sp>
        <p:nvSpPr>
          <p:cNvPr id="5" name="Marcador de pie de página 4">
            <a:extLst>
              <a:ext uri="{FF2B5EF4-FFF2-40B4-BE49-F238E27FC236}">
                <a16:creationId xmlns:a16="http://schemas.microsoft.com/office/drawing/2014/main" id="{D6A1BD64-0A6B-EBCB-351F-EDD70B40A53F}"/>
              </a:ext>
            </a:extLst>
          </p:cNvPr>
          <p:cNvSpPr>
            <a:spLocks noGrp="1"/>
          </p:cNvSpPr>
          <p:nvPr>
            <p:ph type="ftr" sz="quarter" idx="11"/>
          </p:nvPr>
        </p:nvSpPr>
        <p:spPr/>
        <p:txBody>
          <a:bodyPr/>
          <a:lstStyle/>
          <a:p>
            <a:endParaRPr lang="es-CL"/>
          </a:p>
        </p:txBody>
      </p:sp>
      <p:sp>
        <p:nvSpPr>
          <p:cNvPr id="6" name="Marcador de número de diapositiva 5">
            <a:extLst>
              <a:ext uri="{FF2B5EF4-FFF2-40B4-BE49-F238E27FC236}">
                <a16:creationId xmlns:a16="http://schemas.microsoft.com/office/drawing/2014/main" id="{40DC6CB1-FA58-4D3B-ED62-EF265029FE75}"/>
              </a:ext>
            </a:extLst>
          </p:cNvPr>
          <p:cNvSpPr>
            <a:spLocks noGrp="1"/>
          </p:cNvSpPr>
          <p:nvPr>
            <p:ph type="sldNum" sz="quarter" idx="12"/>
          </p:nvPr>
        </p:nvSpPr>
        <p:spPr/>
        <p:txBody>
          <a:bodyPr/>
          <a:lstStyle/>
          <a:p>
            <a:fld id="{524463AD-4A8F-433B-B666-1711C50A5B75}" type="slidenum">
              <a:rPr lang="es-CL" smtClean="0"/>
              <a:t>‹Nº›</a:t>
            </a:fld>
            <a:endParaRPr lang="es-CL"/>
          </a:p>
        </p:txBody>
      </p:sp>
    </p:spTree>
    <p:extLst>
      <p:ext uri="{BB962C8B-B14F-4D97-AF65-F5344CB8AC3E}">
        <p14:creationId xmlns:p14="http://schemas.microsoft.com/office/powerpoint/2010/main" val="421433310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438D8E51-D8C9-3CFD-92B7-7303419D2669}"/>
              </a:ext>
            </a:extLst>
          </p:cNvPr>
          <p:cNvSpPr>
            <a:spLocks noGrp="1"/>
          </p:cNvSpPr>
          <p:nvPr>
            <p:ph type="title"/>
          </p:nvPr>
        </p:nvSpPr>
        <p:spPr>
          <a:xfrm>
            <a:off x="831850" y="1709738"/>
            <a:ext cx="10515600" cy="2852737"/>
          </a:xfrm>
        </p:spPr>
        <p:txBody>
          <a:bodyPr anchor="b"/>
          <a:lstStyle>
            <a:lvl1pPr>
              <a:defRPr sz="6000"/>
            </a:lvl1pPr>
          </a:lstStyle>
          <a:p>
            <a:r>
              <a:rPr lang="es-ES"/>
              <a:t>Haga clic para modificar el estilo de título del patrón</a:t>
            </a:r>
            <a:endParaRPr lang="es-CL"/>
          </a:p>
        </p:txBody>
      </p:sp>
      <p:sp>
        <p:nvSpPr>
          <p:cNvPr id="3" name="Marcador de texto 2">
            <a:extLst>
              <a:ext uri="{FF2B5EF4-FFF2-40B4-BE49-F238E27FC236}">
                <a16:creationId xmlns:a16="http://schemas.microsoft.com/office/drawing/2014/main" id="{1C8AAF13-EA5D-B147-18AB-F653C06C6647}"/>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s-ES"/>
              <a:t>Haga clic para modificar los estilos de texto del patrón</a:t>
            </a:r>
          </a:p>
        </p:txBody>
      </p:sp>
      <p:sp>
        <p:nvSpPr>
          <p:cNvPr id="4" name="Marcador de fecha 3">
            <a:extLst>
              <a:ext uri="{FF2B5EF4-FFF2-40B4-BE49-F238E27FC236}">
                <a16:creationId xmlns:a16="http://schemas.microsoft.com/office/drawing/2014/main" id="{2D5CFD86-E11C-9145-C7BB-39E7BB56018D}"/>
              </a:ext>
            </a:extLst>
          </p:cNvPr>
          <p:cNvSpPr>
            <a:spLocks noGrp="1"/>
          </p:cNvSpPr>
          <p:nvPr>
            <p:ph type="dt" sz="half" idx="10"/>
          </p:nvPr>
        </p:nvSpPr>
        <p:spPr/>
        <p:txBody>
          <a:bodyPr/>
          <a:lstStyle/>
          <a:p>
            <a:fld id="{EBB99500-EDB6-484F-8B05-7B1B3C7067CA}" type="datetimeFigureOut">
              <a:rPr lang="es-CL" smtClean="0"/>
              <a:t>26-10-2024</a:t>
            </a:fld>
            <a:endParaRPr lang="es-CL"/>
          </a:p>
        </p:txBody>
      </p:sp>
      <p:sp>
        <p:nvSpPr>
          <p:cNvPr id="5" name="Marcador de pie de página 4">
            <a:extLst>
              <a:ext uri="{FF2B5EF4-FFF2-40B4-BE49-F238E27FC236}">
                <a16:creationId xmlns:a16="http://schemas.microsoft.com/office/drawing/2014/main" id="{5A698C06-8DA0-A9DB-16A7-E18ACE2A9750}"/>
              </a:ext>
            </a:extLst>
          </p:cNvPr>
          <p:cNvSpPr>
            <a:spLocks noGrp="1"/>
          </p:cNvSpPr>
          <p:nvPr>
            <p:ph type="ftr" sz="quarter" idx="11"/>
          </p:nvPr>
        </p:nvSpPr>
        <p:spPr/>
        <p:txBody>
          <a:bodyPr/>
          <a:lstStyle/>
          <a:p>
            <a:endParaRPr lang="es-CL"/>
          </a:p>
        </p:txBody>
      </p:sp>
      <p:sp>
        <p:nvSpPr>
          <p:cNvPr id="6" name="Marcador de número de diapositiva 5">
            <a:extLst>
              <a:ext uri="{FF2B5EF4-FFF2-40B4-BE49-F238E27FC236}">
                <a16:creationId xmlns:a16="http://schemas.microsoft.com/office/drawing/2014/main" id="{0DFE3E17-D7B5-9E3D-E86C-81248B7D016F}"/>
              </a:ext>
            </a:extLst>
          </p:cNvPr>
          <p:cNvSpPr>
            <a:spLocks noGrp="1"/>
          </p:cNvSpPr>
          <p:nvPr>
            <p:ph type="sldNum" sz="quarter" idx="12"/>
          </p:nvPr>
        </p:nvSpPr>
        <p:spPr/>
        <p:txBody>
          <a:bodyPr/>
          <a:lstStyle/>
          <a:p>
            <a:fld id="{524463AD-4A8F-433B-B666-1711C50A5B75}" type="slidenum">
              <a:rPr lang="es-CL" smtClean="0"/>
              <a:t>‹Nº›</a:t>
            </a:fld>
            <a:endParaRPr lang="es-CL"/>
          </a:p>
        </p:txBody>
      </p:sp>
    </p:spTree>
    <p:extLst>
      <p:ext uri="{BB962C8B-B14F-4D97-AF65-F5344CB8AC3E}">
        <p14:creationId xmlns:p14="http://schemas.microsoft.com/office/powerpoint/2010/main" val="251172892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F8132099-6C63-C1DE-3E59-ADC20B5D5BD5}"/>
              </a:ext>
            </a:extLst>
          </p:cNvPr>
          <p:cNvSpPr>
            <a:spLocks noGrp="1"/>
          </p:cNvSpPr>
          <p:nvPr>
            <p:ph type="title"/>
          </p:nvPr>
        </p:nvSpPr>
        <p:spPr/>
        <p:txBody>
          <a:bodyPr/>
          <a:lstStyle/>
          <a:p>
            <a:r>
              <a:rPr lang="es-ES"/>
              <a:t>Haga clic para modificar el estilo de título del patrón</a:t>
            </a:r>
            <a:endParaRPr lang="es-CL"/>
          </a:p>
        </p:txBody>
      </p:sp>
      <p:sp>
        <p:nvSpPr>
          <p:cNvPr id="3" name="Marcador de contenido 2">
            <a:extLst>
              <a:ext uri="{FF2B5EF4-FFF2-40B4-BE49-F238E27FC236}">
                <a16:creationId xmlns:a16="http://schemas.microsoft.com/office/drawing/2014/main" id="{0A3C3163-2003-1287-97EE-159FF80A0256}"/>
              </a:ext>
            </a:extLst>
          </p:cNvPr>
          <p:cNvSpPr>
            <a:spLocks noGrp="1"/>
          </p:cNvSpPr>
          <p:nvPr>
            <p:ph sz="half" idx="1"/>
          </p:nvPr>
        </p:nvSpPr>
        <p:spPr>
          <a:xfrm>
            <a:off x="838200" y="1825625"/>
            <a:ext cx="5181600" cy="435133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4" name="Marcador de contenido 3">
            <a:extLst>
              <a:ext uri="{FF2B5EF4-FFF2-40B4-BE49-F238E27FC236}">
                <a16:creationId xmlns:a16="http://schemas.microsoft.com/office/drawing/2014/main" id="{26F0CDA8-29CA-0600-790D-29D696FC23B1}"/>
              </a:ext>
            </a:extLst>
          </p:cNvPr>
          <p:cNvSpPr>
            <a:spLocks noGrp="1"/>
          </p:cNvSpPr>
          <p:nvPr>
            <p:ph sz="half" idx="2"/>
          </p:nvPr>
        </p:nvSpPr>
        <p:spPr>
          <a:xfrm>
            <a:off x="6172200" y="1825625"/>
            <a:ext cx="5181600" cy="435133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5" name="Marcador de fecha 4">
            <a:extLst>
              <a:ext uri="{FF2B5EF4-FFF2-40B4-BE49-F238E27FC236}">
                <a16:creationId xmlns:a16="http://schemas.microsoft.com/office/drawing/2014/main" id="{322C1265-59EF-273B-0E81-561F28E4FCBD}"/>
              </a:ext>
            </a:extLst>
          </p:cNvPr>
          <p:cNvSpPr>
            <a:spLocks noGrp="1"/>
          </p:cNvSpPr>
          <p:nvPr>
            <p:ph type="dt" sz="half" idx="10"/>
          </p:nvPr>
        </p:nvSpPr>
        <p:spPr/>
        <p:txBody>
          <a:bodyPr/>
          <a:lstStyle/>
          <a:p>
            <a:fld id="{EBB99500-EDB6-484F-8B05-7B1B3C7067CA}" type="datetimeFigureOut">
              <a:rPr lang="es-CL" smtClean="0"/>
              <a:t>26-10-2024</a:t>
            </a:fld>
            <a:endParaRPr lang="es-CL"/>
          </a:p>
        </p:txBody>
      </p:sp>
      <p:sp>
        <p:nvSpPr>
          <p:cNvPr id="6" name="Marcador de pie de página 5">
            <a:extLst>
              <a:ext uri="{FF2B5EF4-FFF2-40B4-BE49-F238E27FC236}">
                <a16:creationId xmlns:a16="http://schemas.microsoft.com/office/drawing/2014/main" id="{445B6D5E-C24F-00A3-1DE8-89A0D92F18A5}"/>
              </a:ext>
            </a:extLst>
          </p:cNvPr>
          <p:cNvSpPr>
            <a:spLocks noGrp="1"/>
          </p:cNvSpPr>
          <p:nvPr>
            <p:ph type="ftr" sz="quarter" idx="11"/>
          </p:nvPr>
        </p:nvSpPr>
        <p:spPr/>
        <p:txBody>
          <a:bodyPr/>
          <a:lstStyle/>
          <a:p>
            <a:endParaRPr lang="es-CL"/>
          </a:p>
        </p:txBody>
      </p:sp>
      <p:sp>
        <p:nvSpPr>
          <p:cNvPr id="7" name="Marcador de número de diapositiva 6">
            <a:extLst>
              <a:ext uri="{FF2B5EF4-FFF2-40B4-BE49-F238E27FC236}">
                <a16:creationId xmlns:a16="http://schemas.microsoft.com/office/drawing/2014/main" id="{0E4F0CFC-A39E-FB06-8966-C856632B9140}"/>
              </a:ext>
            </a:extLst>
          </p:cNvPr>
          <p:cNvSpPr>
            <a:spLocks noGrp="1"/>
          </p:cNvSpPr>
          <p:nvPr>
            <p:ph type="sldNum" sz="quarter" idx="12"/>
          </p:nvPr>
        </p:nvSpPr>
        <p:spPr/>
        <p:txBody>
          <a:bodyPr/>
          <a:lstStyle/>
          <a:p>
            <a:fld id="{524463AD-4A8F-433B-B666-1711C50A5B75}" type="slidenum">
              <a:rPr lang="es-CL" smtClean="0"/>
              <a:t>‹Nº›</a:t>
            </a:fld>
            <a:endParaRPr lang="es-CL"/>
          </a:p>
        </p:txBody>
      </p:sp>
    </p:spTree>
    <p:extLst>
      <p:ext uri="{BB962C8B-B14F-4D97-AF65-F5344CB8AC3E}">
        <p14:creationId xmlns:p14="http://schemas.microsoft.com/office/powerpoint/2010/main" val="27726753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9229E6D-076E-7AD3-1F88-111AC02751E5}"/>
              </a:ext>
            </a:extLst>
          </p:cNvPr>
          <p:cNvSpPr>
            <a:spLocks noGrp="1"/>
          </p:cNvSpPr>
          <p:nvPr>
            <p:ph type="title"/>
          </p:nvPr>
        </p:nvSpPr>
        <p:spPr>
          <a:xfrm>
            <a:off x="839788" y="365125"/>
            <a:ext cx="10515600" cy="1325563"/>
          </a:xfrm>
        </p:spPr>
        <p:txBody>
          <a:bodyPr/>
          <a:lstStyle/>
          <a:p>
            <a:r>
              <a:rPr lang="es-ES"/>
              <a:t>Haga clic para modificar el estilo de título del patrón</a:t>
            </a:r>
            <a:endParaRPr lang="es-CL"/>
          </a:p>
        </p:txBody>
      </p:sp>
      <p:sp>
        <p:nvSpPr>
          <p:cNvPr id="3" name="Marcador de texto 2">
            <a:extLst>
              <a:ext uri="{FF2B5EF4-FFF2-40B4-BE49-F238E27FC236}">
                <a16:creationId xmlns:a16="http://schemas.microsoft.com/office/drawing/2014/main" id="{197AFFAC-DA62-E359-BF7F-F3868952A71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los estilos de texto del patrón</a:t>
            </a:r>
          </a:p>
        </p:txBody>
      </p:sp>
      <p:sp>
        <p:nvSpPr>
          <p:cNvPr id="4" name="Marcador de contenido 3">
            <a:extLst>
              <a:ext uri="{FF2B5EF4-FFF2-40B4-BE49-F238E27FC236}">
                <a16:creationId xmlns:a16="http://schemas.microsoft.com/office/drawing/2014/main" id="{16CF19B1-4EAB-7ED4-3034-75AE4E377D57}"/>
              </a:ext>
            </a:extLst>
          </p:cNvPr>
          <p:cNvSpPr>
            <a:spLocks noGrp="1"/>
          </p:cNvSpPr>
          <p:nvPr>
            <p:ph sz="half" idx="2"/>
          </p:nvPr>
        </p:nvSpPr>
        <p:spPr>
          <a:xfrm>
            <a:off x="839788" y="2505075"/>
            <a:ext cx="5157787" cy="368458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5" name="Marcador de texto 4">
            <a:extLst>
              <a:ext uri="{FF2B5EF4-FFF2-40B4-BE49-F238E27FC236}">
                <a16:creationId xmlns:a16="http://schemas.microsoft.com/office/drawing/2014/main" id="{9CF9CEE0-3084-BC5C-0DE2-DC4121DE49F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los estilos de texto del patrón</a:t>
            </a:r>
          </a:p>
        </p:txBody>
      </p:sp>
      <p:sp>
        <p:nvSpPr>
          <p:cNvPr id="6" name="Marcador de contenido 5">
            <a:extLst>
              <a:ext uri="{FF2B5EF4-FFF2-40B4-BE49-F238E27FC236}">
                <a16:creationId xmlns:a16="http://schemas.microsoft.com/office/drawing/2014/main" id="{2C2AF06A-FE6B-66A3-0D1F-6D812DB299DE}"/>
              </a:ext>
            </a:extLst>
          </p:cNvPr>
          <p:cNvSpPr>
            <a:spLocks noGrp="1"/>
          </p:cNvSpPr>
          <p:nvPr>
            <p:ph sz="quarter" idx="4"/>
          </p:nvPr>
        </p:nvSpPr>
        <p:spPr>
          <a:xfrm>
            <a:off x="6172200" y="2505075"/>
            <a:ext cx="5183188" cy="368458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7" name="Marcador de fecha 6">
            <a:extLst>
              <a:ext uri="{FF2B5EF4-FFF2-40B4-BE49-F238E27FC236}">
                <a16:creationId xmlns:a16="http://schemas.microsoft.com/office/drawing/2014/main" id="{F043D0D6-8EF1-71A8-8A22-4B3823DA1B8D}"/>
              </a:ext>
            </a:extLst>
          </p:cNvPr>
          <p:cNvSpPr>
            <a:spLocks noGrp="1"/>
          </p:cNvSpPr>
          <p:nvPr>
            <p:ph type="dt" sz="half" idx="10"/>
          </p:nvPr>
        </p:nvSpPr>
        <p:spPr/>
        <p:txBody>
          <a:bodyPr/>
          <a:lstStyle/>
          <a:p>
            <a:fld id="{EBB99500-EDB6-484F-8B05-7B1B3C7067CA}" type="datetimeFigureOut">
              <a:rPr lang="es-CL" smtClean="0"/>
              <a:t>26-10-2024</a:t>
            </a:fld>
            <a:endParaRPr lang="es-CL"/>
          </a:p>
        </p:txBody>
      </p:sp>
      <p:sp>
        <p:nvSpPr>
          <p:cNvPr id="8" name="Marcador de pie de página 7">
            <a:extLst>
              <a:ext uri="{FF2B5EF4-FFF2-40B4-BE49-F238E27FC236}">
                <a16:creationId xmlns:a16="http://schemas.microsoft.com/office/drawing/2014/main" id="{8CE30712-96A5-ACC8-E7D8-727864F0C787}"/>
              </a:ext>
            </a:extLst>
          </p:cNvPr>
          <p:cNvSpPr>
            <a:spLocks noGrp="1"/>
          </p:cNvSpPr>
          <p:nvPr>
            <p:ph type="ftr" sz="quarter" idx="11"/>
          </p:nvPr>
        </p:nvSpPr>
        <p:spPr/>
        <p:txBody>
          <a:bodyPr/>
          <a:lstStyle/>
          <a:p>
            <a:endParaRPr lang="es-CL"/>
          </a:p>
        </p:txBody>
      </p:sp>
      <p:sp>
        <p:nvSpPr>
          <p:cNvPr id="9" name="Marcador de número de diapositiva 8">
            <a:extLst>
              <a:ext uri="{FF2B5EF4-FFF2-40B4-BE49-F238E27FC236}">
                <a16:creationId xmlns:a16="http://schemas.microsoft.com/office/drawing/2014/main" id="{27BBDA3D-53DC-6139-09CE-B8F9B5F1698F}"/>
              </a:ext>
            </a:extLst>
          </p:cNvPr>
          <p:cNvSpPr>
            <a:spLocks noGrp="1"/>
          </p:cNvSpPr>
          <p:nvPr>
            <p:ph type="sldNum" sz="quarter" idx="12"/>
          </p:nvPr>
        </p:nvSpPr>
        <p:spPr/>
        <p:txBody>
          <a:bodyPr/>
          <a:lstStyle/>
          <a:p>
            <a:fld id="{524463AD-4A8F-433B-B666-1711C50A5B75}" type="slidenum">
              <a:rPr lang="es-CL" smtClean="0"/>
              <a:t>‹Nº›</a:t>
            </a:fld>
            <a:endParaRPr lang="es-CL"/>
          </a:p>
        </p:txBody>
      </p:sp>
    </p:spTree>
    <p:extLst>
      <p:ext uri="{BB962C8B-B14F-4D97-AF65-F5344CB8AC3E}">
        <p14:creationId xmlns:p14="http://schemas.microsoft.com/office/powerpoint/2010/main" val="392960401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9392E4A9-DD80-9AA0-DF7B-2DFD01520DE6}"/>
              </a:ext>
            </a:extLst>
          </p:cNvPr>
          <p:cNvSpPr>
            <a:spLocks noGrp="1"/>
          </p:cNvSpPr>
          <p:nvPr>
            <p:ph type="title"/>
          </p:nvPr>
        </p:nvSpPr>
        <p:spPr/>
        <p:txBody>
          <a:bodyPr/>
          <a:lstStyle/>
          <a:p>
            <a:r>
              <a:rPr lang="es-ES"/>
              <a:t>Haga clic para modificar el estilo de título del patrón</a:t>
            </a:r>
            <a:endParaRPr lang="es-CL"/>
          </a:p>
        </p:txBody>
      </p:sp>
      <p:sp>
        <p:nvSpPr>
          <p:cNvPr id="3" name="Marcador de fecha 2">
            <a:extLst>
              <a:ext uri="{FF2B5EF4-FFF2-40B4-BE49-F238E27FC236}">
                <a16:creationId xmlns:a16="http://schemas.microsoft.com/office/drawing/2014/main" id="{6F53F724-D0F5-FFF7-06C0-359ECC4E3143}"/>
              </a:ext>
            </a:extLst>
          </p:cNvPr>
          <p:cNvSpPr>
            <a:spLocks noGrp="1"/>
          </p:cNvSpPr>
          <p:nvPr>
            <p:ph type="dt" sz="half" idx="10"/>
          </p:nvPr>
        </p:nvSpPr>
        <p:spPr/>
        <p:txBody>
          <a:bodyPr/>
          <a:lstStyle/>
          <a:p>
            <a:fld id="{EBB99500-EDB6-484F-8B05-7B1B3C7067CA}" type="datetimeFigureOut">
              <a:rPr lang="es-CL" smtClean="0"/>
              <a:t>26-10-2024</a:t>
            </a:fld>
            <a:endParaRPr lang="es-CL"/>
          </a:p>
        </p:txBody>
      </p:sp>
      <p:sp>
        <p:nvSpPr>
          <p:cNvPr id="4" name="Marcador de pie de página 3">
            <a:extLst>
              <a:ext uri="{FF2B5EF4-FFF2-40B4-BE49-F238E27FC236}">
                <a16:creationId xmlns:a16="http://schemas.microsoft.com/office/drawing/2014/main" id="{1D778E4F-9E6C-1123-4778-41D2F52B7CC7}"/>
              </a:ext>
            </a:extLst>
          </p:cNvPr>
          <p:cNvSpPr>
            <a:spLocks noGrp="1"/>
          </p:cNvSpPr>
          <p:nvPr>
            <p:ph type="ftr" sz="quarter" idx="11"/>
          </p:nvPr>
        </p:nvSpPr>
        <p:spPr/>
        <p:txBody>
          <a:bodyPr/>
          <a:lstStyle/>
          <a:p>
            <a:endParaRPr lang="es-CL"/>
          </a:p>
        </p:txBody>
      </p:sp>
      <p:sp>
        <p:nvSpPr>
          <p:cNvPr id="5" name="Marcador de número de diapositiva 4">
            <a:extLst>
              <a:ext uri="{FF2B5EF4-FFF2-40B4-BE49-F238E27FC236}">
                <a16:creationId xmlns:a16="http://schemas.microsoft.com/office/drawing/2014/main" id="{3A702173-8D59-D56C-8D55-6B700C8AF8FB}"/>
              </a:ext>
            </a:extLst>
          </p:cNvPr>
          <p:cNvSpPr>
            <a:spLocks noGrp="1"/>
          </p:cNvSpPr>
          <p:nvPr>
            <p:ph type="sldNum" sz="quarter" idx="12"/>
          </p:nvPr>
        </p:nvSpPr>
        <p:spPr/>
        <p:txBody>
          <a:bodyPr/>
          <a:lstStyle/>
          <a:p>
            <a:fld id="{524463AD-4A8F-433B-B666-1711C50A5B75}" type="slidenum">
              <a:rPr lang="es-CL" smtClean="0"/>
              <a:t>‹Nº›</a:t>
            </a:fld>
            <a:endParaRPr lang="es-CL"/>
          </a:p>
        </p:txBody>
      </p:sp>
    </p:spTree>
    <p:extLst>
      <p:ext uri="{BB962C8B-B14F-4D97-AF65-F5344CB8AC3E}">
        <p14:creationId xmlns:p14="http://schemas.microsoft.com/office/powerpoint/2010/main" val="107376432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1">
            <a:extLst>
              <a:ext uri="{FF2B5EF4-FFF2-40B4-BE49-F238E27FC236}">
                <a16:creationId xmlns:a16="http://schemas.microsoft.com/office/drawing/2014/main" id="{A72DC371-8163-F384-8537-A700AC087FC9}"/>
              </a:ext>
            </a:extLst>
          </p:cNvPr>
          <p:cNvSpPr>
            <a:spLocks noGrp="1"/>
          </p:cNvSpPr>
          <p:nvPr>
            <p:ph type="dt" sz="half" idx="10"/>
          </p:nvPr>
        </p:nvSpPr>
        <p:spPr/>
        <p:txBody>
          <a:bodyPr/>
          <a:lstStyle/>
          <a:p>
            <a:fld id="{EBB99500-EDB6-484F-8B05-7B1B3C7067CA}" type="datetimeFigureOut">
              <a:rPr lang="es-CL" smtClean="0"/>
              <a:t>26-10-2024</a:t>
            </a:fld>
            <a:endParaRPr lang="es-CL"/>
          </a:p>
        </p:txBody>
      </p:sp>
      <p:sp>
        <p:nvSpPr>
          <p:cNvPr id="3" name="Marcador de pie de página 2">
            <a:extLst>
              <a:ext uri="{FF2B5EF4-FFF2-40B4-BE49-F238E27FC236}">
                <a16:creationId xmlns:a16="http://schemas.microsoft.com/office/drawing/2014/main" id="{C33C225D-7611-312D-3755-326270BC7A46}"/>
              </a:ext>
            </a:extLst>
          </p:cNvPr>
          <p:cNvSpPr>
            <a:spLocks noGrp="1"/>
          </p:cNvSpPr>
          <p:nvPr>
            <p:ph type="ftr" sz="quarter" idx="11"/>
          </p:nvPr>
        </p:nvSpPr>
        <p:spPr/>
        <p:txBody>
          <a:bodyPr/>
          <a:lstStyle/>
          <a:p>
            <a:endParaRPr lang="es-CL"/>
          </a:p>
        </p:txBody>
      </p:sp>
      <p:sp>
        <p:nvSpPr>
          <p:cNvPr id="4" name="Marcador de número de diapositiva 3">
            <a:extLst>
              <a:ext uri="{FF2B5EF4-FFF2-40B4-BE49-F238E27FC236}">
                <a16:creationId xmlns:a16="http://schemas.microsoft.com/office/drawing/2014/main" id="{5A0EFF80-E809-BF45-9E64-14888ADDCA29}"/>
              </a:ext>
            </a:extLst>
          </p:cNvPr>
          <p:cNvSpPr>
            <a:spLocks noGrp="1"/>
          </p:cNvSpPr>
          <p:nvPr>
            <p:ph type="sldNum" sz="quarter" idx="12"/>
          </p:nvPr>
        </p:nvSpPr>
        <p:spPr/>
        <p:txBody>
          <a:bodyPr/>
          <a:lstStyle/>
          <a:p>
            <a:fld id="{524463AD-4A8F-433B-B666-1711C50A5B75}" type="slidenum">
              <a:rPr lang="es-CL" smtClean="0"/>
              <a:t>‹Nº›</a:t>
            </a:fld>
            <a:endParaRPr lang="es-CL"/>
          </a:p>
        </p:txBody>
      </p:sp>
    </p:spTree>
    <p:extLst>
      <p:ext uri="{BB962C8B-B14F-4D97-AF65-F5344CB8AC3E}">
        <p14:creationId xmlns:p14="http://schemas.microsoft.com/office/powerpoint/2010/main" val="345087109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F4537D79-9C21-5879-B5D2-E21E7D382A45}"/>
              </a:ext>
            </a:extLst>
          </p:cNvPr>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endParaRPr lang="es-CL"/>
          </a:p>
        </p:txBody>
      </p:sp>
      <p:sp>
        <p:nvSpPr>
          <p:cNvPr id="3" name="Marcador de contenido 2">
            <a:extLst>
              <a:ext uri="{FF2B5EF4-FFF2-40B4-BE49-F238E27FC236}">
                <a16:creationId xmlns:a16="http://schemas.microsoft.com/office/drawing/2014/main" id="{0659519F-0605-C2CD-AA9F-6D861B524CE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4" name="Marcador de texto 3">
            <a:extLst>
              <a:ext uri="{FF2B5EF4-FFF2-40B4-BE49-F238E27FC236}">
                <a16:creationId xmlns:a16="http://schemas.microsoft.com/office/drawing/2014/main" id="{91C03A12-72CD-A227-8D99-D45C481E52F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Haga clic para modificar los estilos de texto del patrón</a:t>
            </a:r>
          </a:p>
        </p:txBody>
      </p:sp>
      <p:sp>
        <p:nvSpPr>
          <p:cNvPr id="5" name="Marcador de fecha 4">
            <a:extLst>
              <a:ext uri="{FF2B5EF4-FFF2-40B4-BE49-F238E27FC236}">
                <a16:creationId xmlns:a16="http://schemas.microsoft.com/office/drawing/2014/main" id="{DBA0DE44-004D-8486-B60A-6ABCFD4E6978}"/>
              </a:ext>
            </a:extLst>
          </p:cNvPr>
          <p:cNvSpPr>
            <a:spLocks noGrp="1"/>
          </p:cNvSpPr>
          <p:nvPr>
            <p:ph type="dt" sz="half" idx="10"/>
          </p:nvPr>
        </p:nvSpPr>
        <p:spPr/>
        <p:txBody>
          <a:bodyPr/>
          <a:lstStyle/>
          <a:p>
            <a:fld id="{EBB99500-EDB6-484F-8B05-7B1B3C7067CA}" type="datetimeFigureOut">
              <a:rPr lang="es-CL" smtClean="0"/>
              <a:t>26-10-2024</a:t>
            </a:fld>
            <a:endParaRPr lang="es-CL"/>
          </a:p>
        </p:txBody>
      </p:sp>
      <p:sp>
        <p:nvSpPr>
          <p:cNvPr id="6" name="Marcador de pie de página 5">
            <a:extLst>
              <a:ext uri="{FF2B5EF4-FFF2-40B4-BE49-F238E27FC236}">
                <a16:creationId xmlns:a16="http://schemas.microsoft.com/office/drawing/2014/main" id="{126A6D7D-8F51-837B-A918-3B3682367617}"/>
              </a:ext>
            </a:extLst>
          </p:cNvPr>
          <p:cNvSpPr>
            <a:spLocks noGrp="1"/>
          </p:cNvSpPr>
          <p:nvPr>
            <p:ph type="ftr" sz="quarter" idx="11"/>
          </p:nvPr>
        </p:nvSpPr>
        <p:spPr/>
        <p:txBody>
          <a:bodyPr/>
          <a:lstStyle/>
          <a:p>
            <a:endParaRPr lang="es-CL"/>
          </a:p>
        </p:txBody>
      </p:sp>
      <p:sp>
        <p:nvSpPr>
          <p:cNvPr id="7" name="Marcador de número de diapositiva 6">
            <a:extLst>
              <a:ext uri="{FF2B5EF4-FFF2-40B4-BE49-F238E27FC236}">
                <a16:creationId xmlns:a16="http://schemas.microsoft.com/office/drawing/2014/main" id="{B6BAEE8B-D87E-6B75-A86D-5701D2D31D6F}"/>
              </a:ext>
            </a:extLst>
          </p:cNvPr>
          <p:cNvSpPr>
            <a:spLocks noGrp="1"/>
          </p:cNvSpPr>
          <p:nvPr>
            <p:ph type="sldNum" sz="quarter" idx="12"/>
          </p:nvPr>
        </p:nvSpPr>
        <p:spPr/>
        <p:txBody>
          <a:bodyPr/>
          <a:lstStyle/>
          <a:p>
            <a:fld id="{524463AD-4A8F-433B-B666-1711C50A5B75}" type="slidenum">
              <a:rPr lang="es-CL" smtClean="0"/>
              <a:t>‹Nº›</a:t>
            </a:fld>
            <a:endParaRPr lang="es-CL"/>
          </a:p>
        </p:txBody>
      </p:sp>
    </p:spTree>
    <p:extLst>
      <p:ext uri="{BB962C8B-B14F-4D97-AF65-F5344CB8AC3E}">
        <p14:creationId xmlns:p14="http://schemas.microsoft.com/office/powerpoint/2010/main" val="340235855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DF762E30-43B7-6C25-94D0-10FF498023BE}"/>
              </a:ext>
            </a:extLst>
          </p:cNvPr>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endParaRPr lang="es-CL"/>
          </a:p>
        </p:txBody>
      </p:sp>
      <p:sp>
        <p:nvSpPr>
          <p:cNvPr id="3" name="Marcador de posición de imagen 2">
            <a:extLst>
              <a:ext uri="{FF2B5EF4-FFF2-40B4-BE49-F238E27FC236}">
                <a16:creationId xmlns:a16="http://schemas.microsoft.com/office/drawing/2014/main" id="{D2CB0F5A-BAAF-B7FD-7738-F96B0A29B93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s-CL"/>
          </a:p>
        </p:txBody>
      </p:sp>
      <p:sp>
        <p:nvSpPr>
          <p:cNvPr id="4" name="Marcador de texto 3">
            <a:extLst>
              <a:ext uri="{FF2B5EF4-FFF2-40B4-BE49-F238E27FC236}">
                <a16:creationId xmlns:a16="http://schemas.microsoft.com/office/drawing/2014/main" id="{B6094700-DDD7-07F5-DB7C-3CF1A2E9C97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Haga clic para modificar los estilos de texto del patrón</a:t>
            </a:r>
          </a:p>
        </p:txBody>
      </p:sp>
      <p:sp>
        <p:nvSpPr>
          <p:cNvPr id="5" name="Marcador de fecha 4">
            <a:extLst>
              <a:ext uri="{FF2B5EF4-FFF2-40B4-BE49-F238E27FC236}">
                <a16:creationId xmlns:a16="http://schemas.microsoft.com/office/drawing/2014/main" id="{BD34986B-F71C-961A-E752-E38473435C49}"/>
              </a:ext>
            </a:extLst>
          </p:cNvPr>
          <p:cNvSpPr>
            <a:spLocks noGrp="1"/>
          </p:cNvSpPr>
          <p:nvPr>
            <p:ph type="dt" sz="half" idx="10"/>
          </p:nvPr>
        </p:nvSpPr>
        <p:spPr/>
        <p:txBody>
          <a:bodyPr/>
          <a:lstStyle/>
          <a:p>
            <a:fld id="{EBB99500-EDB6-484F-8B05-7B1B3C7067CA}" type="datetimeFigureOut">
              <a:rPr lang="es-CL" smtClean="0"/>
              <a:t>26-10-2024</a:t>
            </a:fld>
            <a:endParaRPr lang="es-CL"/>
          </a:p>
        </p:txBody>
      </p:sp>
      <p:sp>
        <p:nvSpPr>
          <p:cNvPr id="6" name="Marcador de pie de página 5">
            <a:extLst>
              <a:ext uri="{FF2B5EF4-FFF2-40B4-BE49-F238E27FC236}">
                <a16:creationId xmlns:a16="http://schemas.microsoft.com/office/drawing/2014/main" id="{CC6CC5E4-3D2A-EAB4-E320-6AF42B073A96}"/>
              </a:ext>
            </a:extLst>
          </p:cNvPr>
          <p:cNvSpPr>
            <a:spLocks noGrp="1"/>
          </p:cNvSpPr>
          <p:nvPr>
            <p:ph type="ftr" sz="quarter" idx="11"/>
          </p:nvPr>
        </p:nvSpPr>
        <p:spPr/>
        <p:txBody>
          <a:bodyPr/>
          <a:lstStyle/>
          <a:p>
            <a:endParaRPr lang="es-CL"/>
          </a:p>
        </p:txBody>
      </p:sp>
      <p:sp>
        <p:nvSpPr>
          <p:cNvPr id="7" name="Marcador de número de diapositiva 6">
            <a:extLst>
              <a:ext uri="{FF2B5EF4-FFF2-40B4-BE49-F238E27FC236}">
                <a16:creationId xmlns:a16="http://schemas.microsoft.com/office/drawing/2014/main" id="{D3CCB1AE-DEA5-BA3E-E080-40CFB792A521}"/>
              </a:ext>
            </a:extLst>
          </p:cNvPr>
          <p:cNvSpPr>
            <a:spLocks noGrp="1"/>
          </p:cNvSpPr>
          <p:nvPr>
            <p:ph type="sldNum" sz="quarter" idx="12"/>
          </p:nvPr>
        </p:nvSpPr>
        <p:spPr/>
        <p:txBody>
          <a:bodyPr/>
          <a:lstStyle/>
          <a:p>
            <a:fld id="{524463AD-4A8F-433B-B666-1711C50A5B75}" type="slidenum">
              <a:rPr lang="es-CL" smtClean="0"/>
              <a:t>‹Nº›</a:t>
            </a:fld>
            <a:endParaRPr lang="es-CL"/>
          </a:p>
        </p:txBody>
      </p:sp>
    </p:spTree>
    <p:extLst>
      <p:ext uri="{BB962C8B-B14F-4D97-AF65-F5344CB8AC3E}">
        <p14:creationId xmlns:p14="http://schemas.microsoft.com/office/powerpoint/2010/main" val="364913645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ADC76C7-E27B-4A58-4F70-71EEC1E1FCEC}"/>
              </a:ext>
            </a:extLst>
          </p:cNvPr>
          <p:cNvGraphicFramePr>
            <a:graphicFrameLocks noChangeAspect="1"/>
          </p:cNvGraphicFramePr>
          <p:nvPr userDrawn="1">
            <p:custDataLst>
              <p:tags r:id="rId13"/>
            </p:custDataLst>
            <p:extLst>
              <p:ext uri="{D42A27DB-BD31-4B8C-83A1-F6EECF244321}">
                <p14:modId xmlns:p14="http://schemas.microsoft.com/office/powerpoint/2010/main" val="6497004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14" imgW="395" imgH="396" progId="TCLayout.ActiveDocument.1">
                  <p:embed/>
                </p:oleObj>
              </mc:Choice>
              <mc:Fallback>
                <p:oleObj name="Diapositiva de think-cell" r:id="rId14" imgW="395" imgH="396" progId="TCLayout.ActiveDocument.1">
                  <p:embed/>
                  <p:pic>
                    <p:nvPicPr>
                      <p:cNvPr id="8" name="think-cell data - do not delete" hidden="1">
                        <a:extLst>
                          <a:ext uri="{FF2B5EF4-FFF2-40B4-BE49-F238E27FC236}">
                            <a16:creationId xmlns:a16="http://schemas.microsoft.com/office/drawing/2014/main" id="{FADC76C7-E27B-4A58-4F70-71EEC1E1FCEC}"/>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Marcador de título 1">
            <a:extLst>
              <a:ext uri="{FF2B5EF4-FFF2-40B4-BE49-F238E27FC236}">
                <a16:creationId xmlns:a16="http://schemas.microsoft.com/office/drawing/2014/main" id="{75482B8B-54CD-D1BD-F92A-BCCFA5CBB58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s-ES"/>
              <a:t>Haga clic para modificar el estilo de título del patrón</a:t>
            </a:r>
            <a:endParaRPr lang="es-CL"/>
          </a:p>
        </p:txBody>
      </p:sp>
      <p:sp>
        <p:nvSpPr>
          <p:cNvPr id="3" name="Marcador de texto 2">
            <a:extLst>
              <a:ext uri="{FF2B5EF4-FFF2-40B4-BE49-F238E27FC236}">
                <a16:creationId xmlns:a16="http://schemas.microsoft.com/office/drawing/2014/main" id="{C72DFE23-BAEE-D2C6-5AD2-B4D3F57086B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4" name="Marcador de fecha 3">
            <a:extLst>
              <a:ext uri="{FF2B5EF4-FFF2-40B4-BE49-F238E27FC236}">
                <a16:creationId xmlns:a16="http://schemas.microsoft.com/office/drawing/2014/main" id="{2BDA6B12-6DF5-363E-0861-00F67C86C7F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EBB99500-EDB6-484F-8B05-7B1B3C7067CA}" type="datetimeFigureOut">
              <a:rPr lang="es-CL" smtClean="0"/>
              <a:t>26-10-2024</a:t>
            </a:fld>
            <a:endParaRPr lang="es-CL"/>
          </a:p>
        </p:txBody>
      </p:sp>
      <p:sp>
        <p:nvSpPr>
          <p:cNvPr id="5" name="Marcador de pie de página 4">
            <a:extLst>
              <a:ext uri="{FF2B5EF4-FFF2-40B4-BE49-F238E27FC236}">
                <a16:creationId xmlns:a16="http://schemas.microsoft.com/office/drawing/2014/main" id="{A81F8A2B-7250-DEF7-C619-65D635D7426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s-CL"/>
          </a:p>
        </p:txBody>
      </p:sp>
      <p:sp>
        <p:nvSpPr>
          <p:cNvPr id="6" name="Marcador de número de diapositiva 5">
            <a:extLst>
              <a:ext uri="{FF2B5EF4-FFF2-40B4-BE49-F238E27FC236}">
                <a16:creationId xmlns:a16="http://schemas.microsoft.com/office/drawing/2014/main" id="{D4220ED7-57B0-45B2-460D-6F48B5799B5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524463AD-4A8F-433B-B666-1711C50A5B75}" type="slidenum">
              <a:rPr lang="es-CL" smtClean="0"/>
              <a:t>‹Nº›</a:t>
            </a:fld>
            <a:endParaRPr lang="es-CL"/>
          </a:p>
        </p:txBody>
      </p:sp>
    </p:spTree>
    <p:extLst>
      <p:ext uri="{BB962C8B-B14F-4D97-AF65-F5344CB8AC3E}">
        <p14:creationId xmlns:p14="http://schemas.microsoft.com/office/powerpoint/2010/main" val="225808444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oleObject" Target="../embeddings/oleObject2.bin"/><Relationship Id="rId7" Type="http://schemas.openxmlformats.org/officeDocument/2006/relationships/image" Target="../media/image4.png"/><Relationship Id="rId2" Type="http://schemas.openxmlformats.org/officeDocument/2006/relationships/slideLayout" Target="../slideLayouts/slideLayout2.xml"/><Relationship Id="rId1" Type="http://schemas.openxmlformats.org/officeDocument/2006/relationships/tags" Target="../tags/tag3.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 Id="rId9" Type="http://schemas.openxmlformats.org/officeDocument/2006/relationships/image" Target="../media/image6.png"/></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7.pn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8.png"/><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7CE747B-19C5-1AD7-9A70-551F4F6B6C48}"/>
              </a:ext>
            </a:extLst>
          </p:cNvPr>
          <p:cNvGraphicFramePr>
            <a:graphicFrameLocks noChangeAspect="1"/>
          </p:cNvGraphicFramePr>
          <p:nvPr>
            <p:custDataLst>
              <p:tags r:id="rId1"/>
            </p:custDataLst>
            <p:extLst>
              <p:ext uri="{D42A27DB-BD31-4B8C-83A1-F6EECF244321}">
                <p14:modId xmlns:p14="http://schemas.microsoft.com/office/powerpoint/2010/main" val="29655488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95" imgH="396" progId="TCLayout.ActiveDocument.1">
                  <p:embed/>
                </p:oleObj>
              </mc:Choice>
              <mc:Fallback>
                <p:oleObj name="Diapositiva de think-cell" r:id="rId3" imgW="395" imgH="396" progId="TCLayout.ActiveDocument.1">
                  <p:embed/>
                  <p:pic>
                    <p:nvPicPr>
                      <p:cNvPr id="4" name="think-cell data - do not delete" hidden="1">
                        <a:extLst>
                          <a:ext uri="{FF2B5EF4-FFF2-40B4-BE49-F238E27FC236}">
                            <a16:creationId xmlns:a16="http://schemas.microsoft.com/office/drawing/2014/main" id="{C7CE747B-19C5-1AD7-9A70-551F4F6B6C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useBgFill="1">
        <p:nvSpPr>
          <p:cNvPr id="8" name="Rectangle 7">
            <a:extLst>
              <a:ext uri="{FF2B5EF4-FFF2-40B4-BE49-F238E27FC236}">
                <a16:creationId xmlns:a16="http://schemas.microsoft.com/office/drawing/2014/main" id="{AC17DE74-01C9-4859-B65A-85CF999E858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Freeform: Shape 9">
            <a:extLst>
              <a:ext uri="{FF2B5EF4-FFF2-40B4-BE49-F238E27FC236}">
                <a16:creationId xmlns:a16="http://schemas.microsoft.com/office/drawing/2014/main" id="{068C0432-0E90-4CC1-8CD3-D44A90DF07E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2347414"/>
          </a:xfrm>
          <a:custGeom>
            <a:avLst/>
            <a:gdLst>
              <a:gd name="connsiteX0" fmla="*/ 0 w 12192000"/>
              <a:gd name="connsiteY0" fmla="*/ 0 h 2347414"/>
              <a:gd name="connsiteX1" fmla="*/ 12192000 w 12192000"/>
              <a:gd name="connsiteY1" fmla="*/ 0 h 2347414"/>
              <a:gd name="connsiteX2" fmla="*/ 12192000 w 12192000"/>
              <a:gd name="connsiteY2" fmla="*/ 1736458 h 2347414"/>
              <a:gd name="connsiteX3" fmla="*/ 11967601 w 12192000"/>
              <a:gd name="connsiteY3" fmla="*/ 1784034 h 2347414"/>
              <a:gd name="connsiteX4" fmla="*/ 10829000 w 12192000"/>
              <a:gd name="connsiteY4" fmla="*/ 1983294 h 2347414"/>
              <a:gd name="connsiteX5" fmla="*/ 10743779 w 12192000"/>
              <a:gd name="connsiteY5" fmla="*/ 1996027 h 2347414"/>
              <a:gd name="connsiteX6" fmla="*/ 10829254 w 12192000"/>
              <a:gd name="connsiteY6" fmla="*/ 1987751 h 2347414"/>
              <a:gd name="connsiteX7" fmla="*/ 10847162 w 12192000"/>
              <a:gd name="connsiteY7" fmla="*/ 1988388 h 2347414"/>
              <a:gd name="connsiteX8" fmla="*/ 11575155 w 12192000"/>
              <a:gd name="connsiteY8" fmla="*/ 1921415 h 2347414"/>
              <a:gd name="connsiteX9" fmla="*/ 12192000 w 12192000"/>
              <a:gd name="connsiteY9" fmla="*/ 1851213 h 2347414"/>
              <a:gd name="connsiteX10" fmla="*/ 12192000 w 12192000"/>
              <a:gd name="connsiteY10" fmla="*/ 1907356 h 2347414"/>
              <a:gd name="connsiteX11" fmla="*/ 12035532 w 12192000"/>
              <a:gd name="connsiteY11" fmla="*/ 1927033 h 2347414"/>
              <a:gd name="connsiteX12" fmla="*/ 11576932 w 12192000"/>
              <a:gd name="connsiteY12" fmla="*/ 1976291 h 2347414"/>
              <a:gd name="connsiteX13" fmla="*/ 10627316 w 12192000"/>
              <a:gd name="connsiteY13" fmla="*/ 2061470 h 2347414"/>
              <a:gd name="connsiteX14" fmla="*/ 9804196 w 12192000"/>
              <a:gd name="connsiteY14" fmla="*/ 2123478 h 2347414"/>
              <a:gd name="connsiteX15" fmla="*/ 9243851 w 12192000"/>
              <a:gd name="connsiteY15" fmla="*/ 2180008 h 2347414"/>
              <a:gd name="connsiteX16" fmla="*/ 8731259 w 12192000"/>
              <a:gd name="connsiteY16" fmla="*/ 2225081 h 2347414"/>
              <a:gd name="connsiteX17" fmla="*/ 8065752 w 12192000"/>
              <a:gd name="connsiteY17" fmla="*/ 2271681 h 2347414"/>
              <a:gd name="connsiteX18" fmla="*/ 7658065 w 12192000"/>
              <a:gd name="connsiteY18" fmla="*/ 2292562 h 2347414"/>
              <a:gd name="connsiteX19" fmla="*/ 6531024 w 12192000"/>
              <a:gd name="connsiteY19" fmla="*/ 2324138 h 2347414"/>
              <a:gd name="connsiteX20" fmla="*/ 6178331 w 12192000"/>
              <a:gd name="connsiteY20" fmla="*/ 2345655 h 2347414"/>
              <a:gd name="connsiteX21" fmla="*/ 5977282 w 12192000"/>
              <a:gd name="connsiteY21" fmla="*/ 2344127 h 2347414"/>
              <a:gd name="connsiteX22" fmla="*/ 5367658 w 12192000"/>
              <a:gd name="connsiteY22" fmla="*/ 2329230 h 2347414"/>
              <a:gd name="connsiteX23" fmla="*/ 4387306 w 12192000"/>
              <a:gd name="connsiteY23" fmla="*/ 2288614 h 2347414"/>
              <a:gd name="connsiteX24" fmla="*/ 4180287 w 12192000"/>
              <a:gd name="connsiteY24" fmla="*/ 2280211 h 2347414"/>
              <a:gd name="connsiteX25" fmla="*/ 3842199 w 12192000"/>
              <a:gd name="connsiteY25" fmla="*/ 2257039 h 2347414"/>
              <a:gd name="connsiteX26" fmla="*/ 3730309 w 12192000"/>
              <a:gd name="connsiteY26" fmla="*/ 2251182 h 2347414"/>
              <a:gd name="connsiteX27" fmla="*/ 3425496 w 12192000"/>
              <a:gd name="connsiteY27" fmla="*/ 2231320 h 2347414"/>
              <a:gd name="connsiteX28" fmla="*/ 3076106 w 12192000"/>
              <a:gd name="connsiteY28" fmla="*/ 2201781 h 2347414"/>
              <a:gd name="connsiteX29" fmla="*/ 2819682 w 12192000"/>
              <a:gd name="connsiteY29" fmla="*/ 2182427 h 2347414"/>
              <a:gd name="connsiteX30" fmla="*/ 2525539 w 12192000"/>
              <a:gd name="connsiteY30" fmla="*/ 2152888 h 2347414"/>
              <a:gd name="connsiteX31" fmla="*/ 2311915 w 12192000"/>
              <a:gd name="connsiteY31" fmla="*/ 2133536 h 2347414"/>
              <a:gd name="connsiteX32" fmla="*/ 2054223 w 12192000"/>
              <a:gd name="connsiteY32" fmla="*/ 2104760 h 2347414"/>
              <a:gd name="connsiteX33" fmla="*/ 1865367 w 12192000"/>
              <a:gd name="connsiteY33" fmla="*/ 2084770 h 2347414"/>
              <a:gd name="connsiteX34" fmla="*/ 1629263 w 12192000"/>
              <a:gd name="connsiteY34" fmla="*/ 2055996 h 2347414"/>
              <a:gd name="connsiteX35" fmla="*/ 1458823 w 12192000"/>
              <a:gd name="connsiteY35" fmla="*/ 2035751 h 2347414"/>
              <a:gd name="connsiteX36" fmla="*/ 1241390 w 12192000"/>
              <a:gd name="connsiteY36" fmla="*/ 2007103 h 2347414"/>
              <a:gd name="connsiteX37" fmla="*/ 1047453 w 12192000"/>
              <a:gd name="connsiteY37" fmla="*/ 1980748 h 2347414"/>
              <a:gd name="connsiteX38" fmla="*/ 814907 w 12192000"/>
              <a:gd name="connsiteY38" fmla="*/ 1949045 h 2347414"/>
              <a:gd name="connsiteX39" fmla="*/ 592649 w 12192000"/>
              <a:gd name="connsiteY39" fmla="*/ 1913776 h 2347414"/>
              <a:gd name="connsiteX40" fmla="*/ 343591 w 12192000"/>
              <a:gd name="connsiteY40" fmla="*/ 1872650 h 2347414"/>
              <a:gd name="connsiteX41" fmla="*/ 35731 w 12192000"/>
              <a:gd name="connsiteY41" fmla="*/ 1821722 h 2347414"/>
              <a:gd name="connsiteX42" fmla="*/ 0 w 12192000"/>
              <a:gd name="connsiteY42" fmla="*/ 1814848 h 2347414"/>
              <a:gd name="connsiteX43" fmla="*/ 0 w 12192000"/>
              <a:gd name="connsiteY43" fmla="*/ 1758489 h 2347414"/>
              <a:gd name="connsiteX44" fmla="*/ 274248 w 12192000"/>
              <a:gd name="connsiteY44" fmla="*/ 1808735 h 2347414"/>
              <a:gd name="connsiteX45" fmla="*/ 498157 w 12192000"/>
              <a:gd name="connsiteY45" fmla="*/ 1846167 h 2347414"/>
              <a:gd name="connsiteX46" fmla="*/ 722828 w 12192000"/>
              <a:gd name="connsiteY46" fmla="*/ 1878635 h 2347414"/>
              <a:gd name="connsiteX47" fmla="*/ 949913 w 12192000"/>
              <a:gd name="connsiteY47" fmla="*/ 1912375 h 2347414"/>
              <a:gd name="connsiteX48" fmla="*/ 1195414 w 12192000"/>
              <a:gd name="connsiteY48" fmla="*/ 1947516 h 2347414"/>
              <a:gd name="connsiteX49" fmla="*/ 1342867 w 12192000"/>
              <a:gd name="connsiteY49" fmla="*/ 1968397 h 2347414"/>
              <a:gd name="connsiteX50" fmla="*/ 1518007 w 12192000"/>
              <a:gd name="connsiteY50" fmla="*/ 1988006 h 2347414"/>
              <a:gd name="connsiteX51" fmla="*/ 1701403 w 12192000"/>
              <a:gd name="connsiteY51" fmla="*/ 2010669 h 2347414"/>
              <a:gd name="connsiteX52" fmla="*/ 1879210 w 12192000"/>
              <a:gd name="connsiteY52" fmla="*/ 2031167 h 2347414"/>
              <a:gd name="connsiteX53" fmla="*/ 2068702 w 12192000"/>
              <a:gd name="connsiteY53" fmla="*/ 2052940 h 2347414"/>
              <a:gd name="connsiteX54" fmla="*/ 2212090 w 12192000"/>
              <a:gd name="connsiteY54" fmla="*/ 2067583 h 2347414"/>
              <a:gd name="connsiteX55" fmla="*/ 2416949 w 12192000"/>
              <a:gd name="connsiteY55" fmla="*/ 2089609 h 2347414"/>
              <a:gd name="connsiteX56" fmla="*/ 2582055 w 12192000"/>
              <a:gd name="connsiteY56" fmla="*/ 2105397 h 2347414"/>
              <a:gd name="connsiteX57" fmla="*/ 2802282 w 12192000"/>
              <a:gd name="connsiteY57" fmla="*/ 2126405 h 2347414"/>
              <a:gd name="connsiteX58" fmla="*/ 2984916 w 12192000"/>
              <a:gd name="connsiteY58" fmla="*/ 2141684 h 2347414"/>
              <a:gd name="connsiteX59" fmla="*/ 3241847 w 12192000"/>
              <a:gd name="connsiteY59" fmla="*/ 2164094 h 2347414"/>
              <a:gd name="connsiteX60" fmla="*/ 3439848 w 12192000"/>
              <a:gd name="connsiteY60" fmla="*/ 2176826 h 2347414"/>
              <a:gd name="connsiteX61" fmla="*/ 3658678 w 12192000"/>
              <a:gd name="connsiteY61" fmla="*/ 2194523 h 2347414"/>
              <a:gd name="connsiteX62" fmla="*/ 3881317 w 12192000"/>
              <a:gd name="connsiteY62" fmla="*/ 2206491 h 2347414"/>
              <a:gd name="connsiteX63" fmla="*/ 4148916 w 12192000"/>
              <a:gd name="connsiteY63" fmla="*/ 2225081 h 2347414"/>
              <a:gd name="connsiteX64" fmla="*/ 4468337 w 12192000"/>
              <a:gd name="connsiteY64" fmla="*/ 2237813 h 2347414"/>
              <a:gd name="connsiteX65" fmla="*/ 4605375 w 12192000"/>
              <a:gd name="connsiteY65" fmla="*/ 2240232 h 2347414"/>
              <a:gd name="connsiteX66" fmla="*/ 4527647 w 12192000"/>
              <a:gd name="connsiteY66" fmla="*/ 2236412 h 2347414"/>
              <a:gd name="connsiteX67" fmla="*/ 4175589 w 12192000"/>
              <a:gd name="connsiteY67" fmla="*/ 2212985 h 2347414"/>
              <a:gd name="connsiteX68" fmla="*/ 3988255 w 12192000"/>
              <a:gd name="connsiteY68" fmla="*/ 2200253 h 2347414"/>
              <a:gd name="connsiteX69" fmla="*/ 3686492 w 12192000"/>
              <a:gd name="connsiteY69" fmla="*/ 2176062 h 2347414"/>
              <a:gd name="connsiteX70" fmla="*/ 3517320 w 12192000"/>
              <a:gd name="connsiteY70" fmla="*/ 2163330 h 2347414"/>
              <a:gd name="connsiteX71" fmla="*/ 3258357 w 12192000"/>
              <a:gd name="connsiteY71" fmla="*/ 2139519 h 2347414"/>
              <a:gd name="connsiteX72" fmla="*/ 3101506 w 12192000"/>
              <a:gd name="connsiteY72" fmla="*/ 2126787 h 2347414"/>
              <a:gd name="connsiteX73" fmla="*/ 2809395 w 12192000"/>
              <a:gd name="connsiteY73" fmla="*/ 2097502 h 2347414"/>
              <a:gd name="connsiteX74" fmla="*/ 2598566 w 12192000"/>
              <a:gd name="connsiteY74" fmla="*/ 2078532 h 2347414"/>
              <a:gd name="connsiteX75" fmla="*/ 2337444 w 12192000"/>
              <a:gd name="connsiteY75" fmla="*/ 2048611 h 2347414"/>
              <a:gd name="connsiteX76" fmla="*/ 2091054 w 12192000"/>
              <a:gd name="connsiteY76" fmla="*/ 2023146 h 2347414"/>
              <a:gd name="connsiteX77" fmla="*/ 1755761 w 12192000"/>
              <a:gd name="connsiteY77" fmla="*/ 1981384 h 2347414"/>
              <a:gd name="connsiteX78" fmla="*/ 1441169 w 12192000"/>
              <a:gd name="connsiteY78" fmla="*/ 1943824 h 2347414"/>
              <a:gd name="connsiteX79" fmla="*/ 1017607 w 12192000"/>
              <a:gd name="connsiteY79" fmla="*/ 1883345 h 2347414"/>
              <a:gd name="connsiteX80" fmla="*/ 594427 w 12192000"/>
              <a:gd name="connsiteY80" fmla="*/ 1821849 h 2347414"/>
              <a:gd name="connsiteX81" fmla="*/ 200711 w 12192000"/>
              <a:gd name="connsiteY81" fmla="*/ 1755132 h 2347414"/>
              <a:gd name="connsiteX82" fmla="*/ 0 w 12192000"/>
              <a:gd name="connsiteY82" fmla="*/ 1718743 h 2347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12192000" h="2347414">
                <a:moveTo>
                  <a:pt x="0" y="0"/>
                </a:moveTo>
                <a:lnTo>
                  <a:pt x="12192000" y="0"/>
                </a:lnTo>
                <a:lnTo>
                  <a:pt x="12192000" y="1736458"/>
                </a:lnTo>
                <a:lnTo>
                  <a:pt x="11967601" y="1784034"/>
                </a:lnTo>
                <a:cubicBezTo>
                  <a:pt x="11589888" y="1859409"/>
                  <a:pt x="11209762" y="1923961"/>
                  <a:pt x="10829000" y="1983294"/>
                </a:cubicBezTo>
                <a:lnTo>
                  <a:pt x="10743779" y="1996027"/>
                </a:lnTo>
                <a:cubicBezTo>
                  <a:pt x="10772495" y="1996778"/>
                  <a:pt x="10801211" y="1993989"/>
                  <a:pt x="10829254" y="1987751"/>
                </a:cubicBezTo>
                <a:cubicBezTo>
                  <a:pt x="10835198" y="1988337"/>
                  <a:pt x="10841180" y="1988553"/>
                  <a:pt x="10847162" y="1988388"/>
                </a:cubicBezTo>
                <a:cubicBezTo>
                  <a:pt x="11090123" y="1968907"/>
                  <a:pt x="11332703" y="1945734"/>
                  <a:pt x="11575155" y="1921415"/>
                </a:cubicBezTo>
                <a:lnTo>
                  <a:pt x="12192000" y="1851213"/>
                </a:lnTo>
                <a:lnTo>
                  <a:pt x="12192000" y="1907356"/>
                </a:lnTo>
                <a:lnTo>
                  <a:pt x="12035532" y="1927033"/>
                </a:lnTo>
                <a:cubicBezTo>
                  <a:pt x="11882793" y="1944747"/>
                  <a:pt x="11729910" y="1961077"/>
                  <a:pt x="11576932" y="1976291"/>
                </a:cubicBezTo>
                <a:cubicBezTo>
                  <a:pt x="11260690" y="2008122"/>
                  <a:pt x="10944193" y="2037279"/>
                  <a:pt x="10627316" y="2061470"/>
                </a:cubicBezTo>
                <a:cubicBezTo>
                  <a:pt x="10352985" y="2082351"/>
                  <a:pt x="10078401" y="2100431"/>
                  <a:pt x="9804196" y="2123478"/>
                </a:cubicBezTo>
                <a:cubicBezTo>
                  <a:pt x="9617118" y="2139137"/>
                  <a:pt x="9430675" y="2161674"/>
                  <a:pt x="9243851" y="2180008"/>
                </a:cubicBezTo>
                <a:cubicBezTo>
                  <a:pt x="9073157" y="2196433"/>
                  <a:pt x="8902207" y="2211966"/>
                  <a:pt x="8731259" y="2225081"/>
                </a:cubicBezTo>
                <a:cubicBezTo>
                  <a:pt x="8509507" y="2242054"/>
                  <a:pt x="8287667" y="2257586"/>
                  <a:pt x="8065752" y="2271681"/>
                </a:cubicBezTo>
                <a:cubicBezTo>
                  <a:pt x="7929984" y="2280466"/>
                  <a:pt x="7793961" y="2285814"/>
                  <a:pt x="7658065" y="2292562"/>
                </a:cubicBezTo>
                <a:cubicBezTo>
                  <a:pt x="7282640" y="2311661"/>
                  <a:pt x="6906704" y="2314208"/>
                  <a:pt x="6531024" y="2324138"/>
                </a:cubicBezTo>
                <a:cubicBezTo>
                  <a:pt x="6413417" y="2327322"/>
                  <a:pt x="6295937" y="2338399"/>
                  <a:pt x="6178331" y="2345655"/>
                </a:cubicBezTo>
                <a:cubicBezTo>
                  <a:pt x="6111271" y="2349730"/>
                  <a:pt x="6044342" y="2345655"/>
                  <a:pt x="5977282" y="2344127"/>
                </a:cubicBezTo>
                <a:cubicBezTo>
                  <a:pt x="5774073" y="2338908"/>
                  <a:pt x="5570866" y="2334960"/>
                  <a:pt x="5367658" y="2329230"/>
                </a:cubicBezTo>
                <a:cubicBezTo>
                  <a:pt x="5040746" y="2319809"/>
                  <a:pt x="4713963" y="2306274"/>
                  <a:pt x="4387306" y="2288614"/>
                </a:cubicBezTo>
                <a:cubicBezTo>
                  <a:pt x="4318342" y="2284796"/>
                  <a:pt x="4249253" y="2284286"/>
                  <a:pt x="4180287" y="2280211"/>
                </a:cubicBezTo>
                <a:cubicBezTo>
                  <a:pt x="4067634" y="2273463"/>
                  <a:pt x="3954980" y="2265060"/>
                  <a:pt x="3842199" y="2257039"/>
                </a:cubicBezTo>
                <a:cubicBezTo>
                  <a:pt x="3804988" y="2254492"/>
                  <a:pt x="3767648" y="2254620"/>
                  <a:pt x="3730309" y="2251182"/>
                </a:cubicBezTo>
                <a:cubicBezTo>
                  <a:pt x="3628704" y="2242142"/>
                  <a:pt x="3527101" y="2238449"/>
                  <a:pt x="3425496" y="2231320"/>
                </a:cubicBezTo>
                <a:cubicBezTo>
                  <a:pt x="3308906" y="2222534"/>
                  <a:pt x="3192569" y="2211330"/>
                  <a:pt x="3076106" y="2201781"/>
                </a:cubicBezTo>
                <a:cubicBezTo>
                  <a:pt x="2990757" y="2194905"/>
                  <a:pt x="2905157" y="2190067"/>
                  <a:pt x="2819682" y="2182427"/>
                </a:cubicBezTo>
                <a:cubicBezTo>
                  <a:pt x="2721507" y="2173515"/>
                  <a:pt x="2623586" y="2162311"/>
                  <a:pt x="2525539" y="2152888"/>
                </a:cubicBezTo>
                <a:cubicBezTo>
                  <a:pt x="2454289" y="2145886"/>
                  <a:pt x="2383038" y="2140920"/>
                  <a:pt x="2311915" y="2133536"/>
                </a:cubicBezTo>
                <a:cubicBezTo>
                  <a:pt x="2225933" y="2124749"/>
                  <a:pt x="2140204" y="2114182"/>
                  <a:pt x="2054223" y="2104760"/>
                </a:cubicBezTo>
                <a:cubicBezTo>
                  <a:pt x="1990719" y="2097758"/>
                  <a:pt x="1928233" y="2092028"/>
                  <a:pt x="1865367" y="2084770"/>
                </a:cubicBezTo>
                <a:cubicBezTo>
                  <a:pt x="1786622" y="2075603"/>
                  <a:pt x="1708006" y="2065545"/>
                  <a:pt x="1629263" y="2055996"/>
                </a:cubicBezTo>
                <a:cubicBezTo>
                  <a:pt x="1572492" y="2049120"/>
                  <a:pt x="1515595" y="2043264"/>
                  <a:pt x="1458823" y="2035751"/>
                </a:cubicBezTo>
                <a:cubicBezTo>
                  <a:pt x="1386303" y="2026585"/>
                  <a:pt x="1313784" y="2016780"/>
                  <a:pt x="1241390" y="2007103"/>
                </a:cubicBezTo>
                <a:lnTo>
                  <a:pt x="1047453" y="1980748"/>
                </a:lnTo>
                <a:cubicBezTo>
                  <a:pt x="969980" y="1970180"/>
                  <a:pt x="892254" y="1960377"/>
                  <a:pt x="814907" y="1949045"/>
                </a:cubicBezTo>
                <a:cubicBezTo>
                  <a:pt x="740609" y="1938094"/>
                  <a:pt x="666692" y="1925744"/>
                  <a:pt x="592649" y="1913776"/>
                </a:cubicBezTo>
                <a:cubicBezTo>
                  <a:pt x="509587" y="1900280"/>
                  <a:pt x="426653" y="1886274"/>
                  <a:pt x="343591" y="1872650"/>
                </a:cubicBezTo>
                <a:cubicBezTo>
                  <a:pt x="240972" y="1855716"/>
                  <a:pt x="138225" y="1839673"/>
                  <a:pt x="35731" y="1821722"/>
                </a:cubicBezTo>
                <a:lnTo>
                  <a:pt x="0" y="1814848"/>
                </a:lnTo>
                <a:lnTo>
                  <a:pt x="0" y="1758489"/>
                </a:lnTo>
                <a:lnTo>
                  <a:pt x="274248" y="1808735"/>
                </a:lnTo>
                <a:cubicBezTo>
                  <a:pt x="348926" y="1821467"/>
                  <a:pt x="423604" y="1832798"/>
                  <a:pt x="498157" y="1846167"/>
                </a:cubicBezTo>
                <a:cubicBezTo>
                  <a:pt x="572708" y="1859536"/>
                  <a:pt x="647896" y="1867813"/>
                  <a:pt x="722828" y="1878635"/>
                </a:cubicBezTo>
                <a:cubicBezTo>
                  <a:pt x="797762" y="1889457"/>
                  <a:pt x="874219" y="1901426"/>
                  <a:pt x="949913" y="1912375"/>
                </a:cubicBezTo>
                <a:cubicBezTo>
                  <a:pt x="1031704" y="1924343"/>
                  <a:pt x="1113496" y="1935802"/>
                  <a:pt x="1195414" y="1947516"/>
                </a:cubicBezTo>
                <a:cubicBezTo>
                  <a:pt x="1244566" y="1954519"/>
                  <a:pt x="1293589" y="1962285"/>
                  <a:pt x="1342867" y="1968397"/>
                </a:cubicBezTo>
                <a:cubicBezTo>
                  <a:pt x="1401162" y="1975656"/>
                  <a:pt x="1459712" y="1981130"/>
                  <a:pt x="1518007" y="1988006"/>
                </a:cubicBezTo>
                <a:cubicBezTo>
                  <a:pt x="1579224" y="1995263"/>
                  <a:pt x="1640186" y="2003411"/>
                  <a:pt x="1701403" y="2010669"/>
                </a:cubicBezTo>
                <a:cubicBezTo>
                  <a:pt x="1762618" y="2017926"/>
                  <a:pt x="1820279" y="2024292"/>
                  <a:pt x="1879210" y="2031167"/>
                </a:cubicBezTo>
                <a:cubicBezTo>
                  <a:pt x="1942712" y="2038425"/>
                  <a:pt x="2006214" y="2046064"/>
                  <a:pt x="2068702" y="2052940"/>
                </a:cubicBezTo>
                <a:cubicBezTo>
                  <a:pt x="2116455" y="2058160"/>
                  <a:pt x="2164335" y="2062362"/>
                  <a:pt x="2212090" y="2067583"/>
                </a:cubicBezTo>
                <a:cubicBezTo>
                  <a:pt x="2280419" y="2074967"/>
                  <a:pt x="2348493" y="2085152"/>
                  <a:pt x="2416949" y="2089609"/>
                </a:cubicBezTo>
                <a:cubicBezTo>
                  <a:pt x="2472070" y="2093302"/>
                  <a:pt x="2526936" y="2099540"/>
                  <a:pt x="2582055" y="2105397"/>
                </a:cubicBezTo>
                <a:cubicBezTo>
                  <a:pt x="2655337" y="2113291"/>
                  <a:pt x="2729001" y="2119785"/>
                  <a:pt x="2802282" y="2126405"/>
                </a:cubicBezTo>
                <a:cubicBezTo>
                  <a:pt x="2862991" y="2131753"/>
                  <a:pt x="2924207" y="2136337"/>
                  <a:pt x="2984916" y="2141684"/>
                </a:cubicBezTo>
                <a:cubicBezTo>
                  <a:pt x="3070516" y="2149324"/>
                  <a:pt x="3156373" y="2152888"/>
                  <a:pt x="3241847" y="2164094"/>
                </a:cubicBezTo>
                <a:cubicBezTo>
                  <a:pt x="3307255" y="2172624"/>
                  <a:pt x="3374060" y="2169822"/>
                  <a:pt x="3439848" y="2176826"/>
                </a:cubicBezTo>
                <a:cubicBezTo>
                  <a:pt x="3512622" y="2184592"/>
                  <a:pt x="3585777" y="2186247"/>
                  <a:pt x="3658678" y="2194523"/>
                </a:cubicBezTo>
                <a:cubicBezTo>
                  <a:pt x="3731578" y="2202800"/>
                  <a:pt x="3807019" y="2201781"/>
                  <a:pt x="3881317" y="2206491"/>
                </a:cubicBezTo>
                <a:cubicBezTo>
                  <a:pt x="3970222" y="2212094"/>
                  <a:pt x="4059124" y="2223552"/>
                  <a:pt x="4148916" y="2225081"/>
                </a:cubicBezTo>
                <a:cubicBezTo>
                  <a:pt x="4255600" y="2226736"/>
                  <a:pt x="4361779" y="2236539"/>
                  <a:pt x="4468337" y="2237813"/>
                </a:cubicBezTo>
                <a:cubicBezTo>
                  <a:pt x="4511390" y="2238577"/>
                  <a:pt x="4554190" y="2246852"/>
                  <a:pt x="4605375" y="2240232"/>
                </a:cubicBezTo>
                <a:cubicBezTo>
                  <a:pt x="4574131" y="2238704"/>
                  <a:pt x="4550762" y="2237940"/>
                  <a:pt x="4527647" y="2236412"/>
                </a:cubicBezTo>
                <a:cubicBezTo>
                  <a:pt x="4410293" y="2228773"/>
                  <a:pt x="4292942" y="2220751"/>
                  <a:pt x="4175589" y="2212985"/>
                </a:cubicBezTo>
                <a:cubicBezTo>
                  <a:pt x="4113101" y="2208783"/>
                  <a:pt x="4050615" y="2205219"/>
                  <a:pt x="3988255" y="2200253"/>
                </a:cubicBezTo>
                <a:cubicBezTo>
                  <a:pt x="3887668" y="2192487"/>
                  <a:pt x="3787079" y="2184082"/>
                  <a:pt x="3686492" y="2176062"/>
                </a:cubicBezTo>
                <a:cubicBezTo>
                  <a:pt x="3630102" y="2171605"/>
                  <a:pt x="3573711" y="2168040"/>
                  <a:pt x="3517320" y="2163330"/>
                </a:cubicBezTo>
                <a:cubicBezTo>
                  <a:pt x="3430958" y="2155689"/>
                  <a:pt x="3344721" y="2147159"/>
                  <a:pt x="3258357" y="2139519"/>
                </a:cubicBezTo>
                <a:cubicBezTo>
                  <a:pt x="3206031" y="2134809"/>
                  <a:pt x="3153705" y="2131371"/>
                  <a:pt x="3101506" y="2126787"/>
                </a:cubicBezTo>
                <a:cubicBezTo>
                  <a:pt x="3004220" y="2117365"/>
                  <a:pt x="2907061" y="2106798"/>
                  <a:pt x="2809395" y="2097502"/>
                </a:cubicBezTo>
                <a:cubicBezTo>
                  <a:pt x="2739161" y="2090628"/>
                  <a:pt x="2668673" y="2085916"/>
                  <a:pt x="2598566" y="2078532"/>
                </a:cubicBezTo>
                <a:cubicBezTo>
                  <a:pt x="2511441" y="2069365"/>
                  <a:pt x="2424569" y="2058160"/>
                  <a:pt x="2337444" y="2048611"/>
                </a:cubicBezTo>
                <a:cubicBezTo>
                  <a:pt x="2255399" y="2039699"/>
                  <a:pt x="2173099" y="2032950"/>
                  <a:pt x="2091054" y="2023146"/>
                </a:cubicBezTo>
                <a:cubicBezTo>
                  <a:pt x="1979162" y="2010414"/>
                  <a:pt x="1867524" y="1995008"/>
                  <a:pt x="1755761" y="1981384"/>
                </a:cubicBezTo>
                <a:cubicBezTo>
                  <a:pt x="1650982" y="1968652"/>
                  <a:pt x="1545821" y="1957830"/>
                  <a:pt x="1441169" y="1943824"/>
                </a:cubicBezTo>
                <a:cubicBezTo>
                  <a:pt x="1299813" y="1924980"/>
                  <a:pt x="1158837" y="1903718"/>
                  <a:pt x="1017607" y="1883345"/>
                </a:cubicBezTo>
                <a:cubicBezTo>
                  <a:pt x="876378" y="1862974"/>
                  <a:pt x="735402" y="1844003"/>
                  <a:pt x="594427" y="1821849"/>
                </a:cubicBezTo>
                <a:cubicBezTo>
                  <a:pt x="462850" y="1801222"/>
                  <a:pt x="331526" y="1778304"/>
                  <a:pt x="200711" y="1755132"/>
                </a:cubicBezTo>
                <a:lnTo>
                  <a:pt x="0" y="1718743"/>
                </a:lnTo>
                <a:close/>
              </a:path>
            </a:pathLst>
          </a:custGeom>
          <a:solidFill>
            <a:schemeClr val="accent2"/>
          </a:solidFill>
          <a:ln w="8199" cap="flat">
            <a:noFill/>
            <a:prstDash val="solid"/>
            <a:miter/>
          </a:ln>
        </p:spPr>
        <p:txBody>
          <a:bodyPr rtlCol="0" anchor="ctr"/>
          <a:lstStyle/>
          <a:p>
            <a:endParaRPr lang="en-US"/>
          </a:p>
        </p:txBody>
      </p:sp>
      <p:sp>
        <p:nvSpPr>
          <p:cNvPr id="2" name="Título 1">
            <a:extLst>
              <a:ext uri="{FF2B5EF4-FFF2-40B4-BE49-F238E27FC236}">
                <a16:creationId xmlns:a16="http://schemas.microsoft.com/office/drawing/2014/main" id="{F2BF0307-5463-FC20-47CD-8B120D7AFC0C}"/>
              </a:ext>
            </a:extLst>
          </p:cNvPr>
          <p:cNvSpPr>
            <a:spLocks noGrp="1"/>
          </p:cNvSpPr>
          <p:nvPr>
            <p:ph type="title"/>
          </p:nvPr>
        </p:nvSpPr>
        <p:spPr>
          <a:xfrm>
            <a:off x="838200" y="401221"/>
            <a:ext cx="10515600" cy="1348065"/>
          </a:xfrm>
        </p:spPr>
        <p:txBody>
          <a:bodyPr vert="horz">
            <a:normAutofit fontScale="90000"/>
          </a:bodyPr>
          <a:lstStyle/>
          <a:p>
            <a:r>
              <a:rPr lang="es-CL" sz="5400" dirty="0"/>
              <a:t>Entrega Proyecto Final SQL </a:t>
            </a:r>
            <a:r>
              <a:rPr lang="es-CL" sz="5400" dirty="0" err="1"/>
              <a:t>Coder</a:t>
            </a:r>
            <a:r>
              <a:rPr lang="es-CL" sz="5400" dirty="0"/>
              <a:t> House</a:t>
            </a:r>
            <a:endParaRPr lang="es-CL" sz="5400" dirty="0">
              <a:solidFill>
                <a:srgbClr val="FFFFFF"/>
              </a:solidFill>
            </a:endParaRPr>
          </a:p>
        </p:txBody>
      </p:sp>
      <p:sp>
        <p:nvSpPr>
          <p:cNvPr id="3" name="Marcador de contenido 2">
            <a:extLst>
              <a:ext uri="{FF2B5EF4-FFF2-40B4-BE49-F238E27FC236}">
                <a16:creationId xmlns:a16="http://schemas.microsoft.com/office/drawing/2014/main" id="{12931171-9855-5E78-0152-483585F5ED08}"/>
              </a:ext>
            </a:extLst>
          </p:cNvPr>
          <p:cNvSpPr>
            <a:spLocks noGrp="1"/>
          </p:cNvSpPr>
          <p:nvPr>
            <p:ph idx="1"/>
          </p:nvPr>
        </p:nvSpPr>
        <p:spPr>
          <a:xfrm>
            <a:off x="838200" y="2586789"/>
            <a:ext cx="10515600" cy="3590174"/>
          </a:xfrm>
        </p:spPr>
        <p:txBody>
          <a:bodyPr>
            <a:normAutofit/>
          </a:bodyPr>
          <a:lstStyle/>
          <a:p>
            <a:r>
              <a:rPr lang="es-CL" sz="2400" dirty="0"/>
              <a:t>Nombre: Pablo Ignacio Aguirre Muñoz</a:t>
            </a:r>
          </a:p>
          <a:p>
            <a:r>
              <a:rPr lang="es-CL" sz="2400" dirty="0"/>
              <a:t>Comisión:</a:t>
            </a:r>
          </a:p>
          <a:p>
            <a:endParaRPr lang="es-CL" sz="2200" dirty="0"/>
          </a:p>
        </p:txBody>
      </p:sp>
      <p:pic>
        <p:nvPicPr>
          <p:cNvPr id="6" name="Imagen 5">
            <a:extLst>
              <a:ext uri="{FF2B5EF4-FFF2-40B4-BE49-F238E27FC236}">
                <a16:creationId xmlns:a16="http://schemas.microsoft.com/office/drawing/2014/main" id="{83F5BFDE-40C4-F072-5BF5-A74113A0739B}"/>
              </a:ext>
            </a:extLst>
          </p:cNvPr>
          <p:cNvPicPr>
            <a:picLocks noChangeAspect="1"/>
          </p:cNvPicPr>
          <p:nvPr/>
        </p:nvPicPr>
        <p:blipFill>
          <a:blip r:embed="rId5"/>
          <a:stretch>
            <a:fillRect/>
          </a:stretch>
        </p:blipFill>
        <p:spPr>
          <a:xfrm>
            <a:off x="151558" y="147367"/>
            <a:ext cx="996196" cy="239175"/>
          </a:xfrm>
          <a:prstGeom prst="rect">
            <a:avLst/>
          </a:prstGeom>
        </p:spPr>
      </p:pic>
      <p:pic>
        <p:nvPicPr>
          <p:cNvPr id="7" name="Imagen 6">
            <a:extLst>
              <a:ext uri="{FF2B5EF4-FFF2-40B4-BE49-F238E27FC236}">
                <a16:creationId xmlns:a16="http://schemas.microsoft.com/office/drawing/2014/main" id="{FD212A83-E53A-47D3-6B09-FF02ED02CFEC}"/>
              </a:ext>
            </a:extLst>
          </p:cNvPr>
          <p:cNvPicPr>
            <a:picLocks noChangeAspect="1"/>
          </p:cNvPicPr>
          <p:nvPr/>
        </p:nvPicPr>
        <p:blipFill>
          <a:blip r:embed="rId6"/>
          <a:stretch>
            <a:fillRect/>
          </a:stretch>
        </p:blipFill>
        <p:spPr>
          <a:xfrm>
            <a:off x="1291115" y="25854"/>
            <a:ext cx="1068461" cy="375367"/>
          </a:xfrm>
          <a:prstGeom prst="rect">
            <a:avLst/>
          </a:prstGeom>
        </p:spPr>
      </p:pic>
      <p:pic>
        <p:nvPicPr>
          <p:cNvPr id="11" name="Imagen 10">
            <a:extLst>
              <a:ext uri="{FF2B5EF4-FFF2-40B4-BE49-F238E27FC236}">
                <a16:creationId xmlns:a16="http://schemas.microsoft.com/office/drawing/2014/main" id="{B65DC8BB-E133-C4FB-4431-441C56B50E85}"/>
              </a:ext>
            </a:extLst>
          </p:cNvPr>
          <p:cNvPicPr>
            <a:picLocks noChangeAspect="1"/>
          </p:cNvPicPr>
          <p:nvPr/>
        </p:nvPicPr>
        <p:blipFill>
          <a:blip r:embed="rId7"/>
          <a:stretch>
            <a:fillRect/>
          </a:stretch>
        </p:blipFill>
        <p:spPr>
          <a:xfrm>
            <a:off x="4719151" y="4164708"/>
            <a:ext cx="4116088" cy="1622400"/>
          </a:xfrm>
          <a:prstGeom prst="rect">
            <a:avLst/>
          </a:prstGeom>
        </p:spPr>
      </p:pic>
      <p:pic>
        <p:nvPicPr>
          <p:cNvPr id="13" name="Imagen 12">
            <a:extLst>
              <a:ext uri="{FF2B5EF4-FFF2-40B4-BE49-F238E27FC236}">
                <a16:creationId xmlns:a16="http://schemas.microsoft.com/office/drawing/2014/main" id="{FC0E1EF1-6DD0-7C1F-6196-2C894AEB888D}"/>
              </a:ext>
            </a:extLst>
          </p:cNvPr>
          <p:cNvPicPr>
            <a:picLocks noChangeAspect="1"/>
          </p:cNvPicPr>
          <p:nvPr/>
        </p:nvPicPr>
        <p:blipFill>
          <a:blip r:embed="rId8"/>
          <a:stretch>
            <a:fillRect/>
          </a:stretch>
        </p:blipFill>
        <p:spPr>
          <a:xfrm>
            <a:off x="280191" y="4214613"/>
            <a:ext cx="4158769" cy="1534179"/>
          </a:xfrm>
          <a:prstGeom prst="rect">
            <a:avLst/>
          </a:prstGeom>
        </p:spPr>
      </p:pic>
      <p:pic>
        <p:nvPicPr>
          <p:cNvPr id="15" name="Imagen 14">
            <a:extLst>
              <a:ext uri="{FF2B5EF4-FFF2-40B4-BE49-F238E27FC236}">
                <a16:creationId xmlns:a16="http://schemas.microsoft.com/office/drawing/2014/main" id="{7E224D7C-4A35-F80C-1AA7-402680318867}"/>
              </a:ext>
            </a:extLst>
          </p:cNvPr>
          <p:cNvPicPr>
            <a:picLocks noChangeAspect="1"/>
          </p:cNvPicPr>
          <p:nvPr/>
        </p:nvPicPr>
        <p:blipFill>
          <a:blip r:embed="rId9"/>
          <a:stretch>
            <a:fillRect/>
          </a:stretch>
        </p:blipFill>
        <p:spPr>
          <a:xfrm>
            <a:off x="9178541" y="4164708"/>
            <a:ext cx="2566041" cy="1622400"/>
          </a:xfrm>
          <a:prstGeom prst="rect">
            <a:avLst/>
          </a:prstGeom>
        </p:spPr>
      </p:pic>
    </p:spTree>
    <p:extLst>
      <p:ext uri="{BB962C8B-B14F-4D97-AF65-F5344CB8AC3E}">
        <p14:creationId xmlns:p14="http://schemas.microsoft.com/office/powerpoint/2010/main" val="373375727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684DFBC-146D-F5D7-4F03-4EC3D48F7475}"/>
              </a:ext>
            </a:extLst>
          </p:cNvPr>
          <p:cNvGraphicFramePr>
            <a:graphicFrameLocks noChangeAspect="1"/>
          </p:cNvGraphicFramePr>
          <p:nvPr>
            <p:custDataLst>
              <p:tags r:id="rId1"/>
            </p:custDataLst>
            <p:extLst>
              <p:ext uri="{D42A27DB-BD31-4B8C-83A1-F6EECF244321}">
                <p14:modId xmlns:p14="http://schemas.microsoft.com/office/powerpoint/2010/main" val="9283949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95" imgH="396" progId="TCLayout.ActiveDocument.1">
                  <p:embed/>
                </p:oleObj>
              </mc:Choice>
              <mc:Fallback>
                <p:oleObj name="Diapositiva de think-cell" r:id="rId3" imgW="395" imgH="396" progId="TCLayout.ActiveDocument.1">
                  <p:embed/>
                  <p:pic>
                    <p:nvPicPr>
                      <p:cNvPr id="4" name="think-cell data - do not delete" hidden="1">
                        <a:extLst>
                          <a:ext uri="{FF2B5EF4-FFF2-40B4-BE49-F238E27FC236}">
                            <a16:creationId xmlns:a16="http://schemas.microsoft.com/office/drawing/2014/main" id="{D684DFBC-146D-F5D7-4F03-4EC3D48F747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useBgFill="1">
        <p:nvSpPr>
          <p:cNvPr id="8" name="Rectangle 7">
            <a:extLst>
              <a:ext uri="{FF2B5EF4-FFF2-40B4-BE49-F238E27FC236}">
                <a16:creationId xmlns:a16="http://schemas.microsoft.com/office/drawing/2014/main" id="{DAF1966E-FD40-4A4A-B61B-C4DF7FA05F0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10" name="Rectangle 9">
            <a:extLst>
              <a:ext uri="{FF2B5EF4-FFF2-40B4-BE49-F238E27FC236}">
                <a16:creationId xmlns:a16="http://schemas.microsoft.com/office/drawing/2014/main" id="{047BFA19-D45E-416B-A404-7AF2F3F2701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58209" y="0"/>
            <a:ext cx="11167447" cy="2018806"/>
          </a:xfrm>
          <a:prstGeom prst="rect">
            <a:avLst/>
          </a:prstGeom>
          <a:ln w="9525">
            <a:solidFill>
              <a:srgbClr val="E1E1E1"/>
            </a:solidFill>
          </a:ln>
          <a:effectLst>
            <a:outerShdw blurRad="50800" dist="38100" dir="2700000" algn="tl" rotWithShape="0">
              <a:schemeClr val="bg1">
                <a:lumMod val="85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useBgFill="1">
        <p:nvSpPr>
          <p:cNvPr id="12" name="Rectangle 11">
            <a:extLst>
              <a:ext uri="{FF2B5EF4-FFF2-40B4-BE49-F238E27FC236}">
                <a16:creationId xmlns:a16="http://schemas.microsoft.com/office/drawing/2014/main" id="{8E0105E7-23DB-4CF2-8258-FF47C7620F6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66928" y="0"/>
            <a:ext cx="11155680" cy="2011680"/>
          </a:xfrm>
          <a:prstGeom prst="rect">
            <a:avLst/>
          </a:prstGeom>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ítulo 1">
            <a:extLst>
              <a:ext uri="{FF2B5EF4-FFF2-40B4-BE49-F238E27FC236}">
                <a16:creationId xmlns:a16="http://schemas.microsoft.com/office/drawing/2014/main" id="{28547C12-267B-A48E-F359-67B2206F55CC}"/>
              </a:ext>
            </a:extLst>
          </p:cNvPr>
          <p:cNvSpPr>
            <a:spLocks noGrp="1"/>
          </p:cNvSpPr>
          <p:nvPr>
            <p:ph type="title"/>
          </p:nvPr>
        </p:nvSpPr>
        <p:spPr>
          <a:xfrm>
            <a:off x="1115568" y="548640"/>
            <a:ext cx="10168128" cy="1179576"/>
          </a:xfrm>
        </p:spPr>
        <p:txBody>
          <a:bodyPr vert="horz">
            <a:normAutofit fontScale="90000"/>
          </a:bodyPr>
          <a:lstStyle/>
          <a:p>
            <a:r>
              <a:rPr lang="es-MX" sz="4000" dirty="0"/>
              <a:t>Introducción al Modelo de Negocio de Compra y Venta de Vehículos Usados</a:t>
            </a:r>
            <a:endParaRPr lang="es-CL" sz="4000" dirty="0"/>
          </a:p>
        </p:txBody>
      </p:sp>
      <p:sp>
        <p:nvSpPr>
          <p:cNvPr id="14" name="Rectangle 13">
            <a:extLst>
              <a:ext uri="{FF2B5EF4-FFF2-40B4-BE49-F238E27FC236}">
                <a16:creationId xmlns:a16="http://schemas.microsoft.com/office/drawing/2014/main" id="{074B4F7D-14B2-478B-8BF5-01E4E0C5D26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98834" y="758952"/>
            <a:ext cx="128016" cy="70408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3" name="Marcador de contenido 2">
            <a:extLst>
              <a:ext uri="{FF2B5EF4-FFF2-40B4-BE49-F238E27FC236}">
                <a16:creationId xmlns:a16="http://schemas.microsoft.com/office/drawing/2014/main" id="{BB0E8C08-97EE-E36A-38C2-AA55C14A4CEB}"/>
              </a:ext>
            </a:extLst>
          </p:cNvPr>
          <p:cNvSpPr>
            <a:spLocks noGrp="1"/>
          </p:cNvSpPr>
          <p:nvPr>
            <p:ph idx="1"/>
          </p:nvPr>
        </p:nvSpPr>
        <p:spPr>
          <a:xfrm>
            <a:off x="704084" y="2144529"/>
            <a:ext cx="10168128" cy="3695020"/>
          </a:xfrm>
        </p:spPr>
        <p:txBody>
          <a:bodyPr>
            <a:normAutofit/>
          </a:bodyPr>
          <a:lstStyle/>
          <a:p>
            <a:endParaRPr lang="es-MX" sz="2200" dirty="0"/>
          </a:p>
          <a:p>
            <a:r>
              <a:rPr lang="es-MX" sz="1600" b="1" dirty="0"/>
              <a:t>Introducción:  </a:t>
            </a:r>
            <a:r>
              <a:rPr lang="es-MX" sz="1600" dirty="0"/>
              <a:t>En este archivo se va a exponer la información sobre la base de datos creada para implementar en el negocio de una concesionaria automotriz, junto con un análisis de datos realizado a partir de la creación del trabajo.</a:t>
            </a:r>
            <a:br>
              <a:rPr lang="es-MX" sz="1600" dirty="0"/>
            </a:br>
            <a:endParaRPr lang="es-MX" sz="1600" dirty="0"/>
          </a:p>
          <a:p>
            <a:r>
              <a:rPr lang="es-MX" sz="1600" b="1" dirty="0"/>
              <a:t>Tipo de negocio: </a:t>
            </a:r>
            <a:r>
              <a:rPr lang="es-MX" sz="1600" dirty="0"/>
              <a:t>Compra y Venta de automóviles al por mayor y al por menor.</a:t>
            </a:r>
            <a:br>
              <a:rPr lang="es-MX" sz="1600" dirty="0"/>
            </a:br>
            <a:endParaRPr lang="es-MX" sz="1600" dirty="0"/>
          </a:p>
          <a:p>
            <a:r>
              <a:rPr lang="es-MX" sz="1600" b="1" dirty="0"/>
              <a:t>Situación problemática</a:t>
            </a:r>
            <a:r>
              <a:rPr lang="es-MX" sz="1600" dirty="0"/>
              <a:t>: Mejorar las ganancias del negocio, analizando los costos y gastos, reduciendo tiempos de reparación en talleres de vehículos para dar más variedad de opciones a clientes para comprar. Adicionalmente, se busca poder analizar desempeño de talleres de reparación.</a:t>
            </a:r>
            <a:endParaRPr lang="es-CL" sz="1600" b="1" dirty="0"/>
          </a:p>
        </p:txBody>
      </p:sp>
      <p:pic>
        <p:nvPicPr>
          <p:cNvPr id="5" name="Imagen 4">
            <a:extLst>
              <a:ext uri="{FF2B5EF4-FFF2-40B4-BE49-F238E27FC236}">
                <a16:creationId xmlns:a16="http://schemas.microsoft.com/office/drawing/2014/main" id="{72511E89-A7B8-C94E-2BAA-41A8157EF7E7}"/>
              </a:ext>
            </a:extLst>
          </p:cNvPr>
          <p:cNvPicPr>
            <a:picLocks noChangeAspect="1"/>
          </p:cNvPicPr>
          <p:nvPr/>
        </p:nvPicPr>
        <p:blipFill>
          <a:blip r:embed="rId5"/>
          <a:stretch>
            <a:fillRect/>
          </a:stretch>
        </p:blipFill>
        <p:spPr>
          <a:xfrm>
            <a:off x="205986" y="114387"/>
            <a:ext cx="996196" cy="239175"/>
          </a:xfrm>
          <a:prstGeom prst="rect">
            <a:avLst/>
          </a:prstGeom>
        </p:spPr>
      </p:pic>
      <p:pic>
        <p:nvPicPr>
          <p:cNvPr id="6" name="Imagen 5">
            <a:extLst>
              <a:ext uri="{FF2B5EF4-FFF2-40B4-BE49-F238E27FC236}">
                <a16:creationId xmlns:a16="http://schemas.microsoft.com/office/drawing/2014/main" id="{B955850C-7C0F-327C-1700-6F40EF4DAEF6}"/>
              </a:ext>
            </a:extLst>
          </p:cNvPr>
          <p:cNvPicPr>
            <a:picLocks noChangeAspect="1"/>
          </p:cNvPicPr>
          <p:nvPr/>
        </p:nvPicPr>
        <p:blipFill>
          <a:blip r:embed="rId6"/>
          <a:stretch>
            <a:fillRect/>
          </a:stretch>
        </p:blipFill>
        <p:spPr>
          <a:xfrm>
            <a:off x="1345543" y="-7126"/>
            <a:ext cx="1068461" cy="375367"/>
          </a:xfrm>
          <a:prstGeom prst="rect">
            <a:avLst/>
          </a:prstGeom>
        </p:spPr>
      </p:pic>
    </p:spTree>
    <p:extLst>
      <p:ext uri="{BB962C8B-B14F-4D97-AF65-F5344CB8AC3E}">
        <p14:creationId xmlns:p14="http://schemas.microsoft.com/office/powerpoint/2010/main" val="281286679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684DFBC-146D-F5D7-4F03-4EC3D48F747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95" imgH="396" progId="TCLayout.ActiveDocument.1">
                  <p:embed/>
                </p:oleObj>
              </mc:Choice>
              <mc:Fallback>
                <p:oleObj name="Diapositiva de think-cell" r:id="rId3" imgW="395" imgH="396" progId="TCLayout.ActiveDocument.1">
                  <p:embed/>
                  <p:pic>
                    <p:nvPicPr>
                      <p:cNvPr id="4" name="think-cell data - do not delete" hidden="1">
                        <a:extLst>
                          <a:ext uri="{FF2B5EF4-FFF2-40B4-BE49-F238E27FC236}">
                            <a16:creationId xmlns:a16="http://schemas.microsoft.com/office/drawing/2014/main" id="{D684DFBC-146D-F5D7-4F03-4EC3D48F747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useBgFill="1">
        <p:nvSpPr>
          <p:cNvPr id="8" name="Rectangle 7">
            <a:extLst>
              <a:ext uri="{FF2B5EF4-FFF2-40B4-BE49-F238E27FC236}">
                <a16:creationId xmlns:a16="http://schemas.microsoft.com/office/drawing/2014/main" id="{DAF1966E-FD40-4A4A-B61B-C4DF7FA05F0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10" name="Rectangle 9">
            <a:extLst>
              <a:ext uri="{FF2B5EF4-FFF2-40B4-BE49-F238E27FC236}">
                <a16:creationId xmlns:a16="http://schemas.microsoft.com/office/drawing/2014/main" id="{047BFA19-D45E-416B-A404-7AF2F3F2701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58209" y="0"/>
            <a:ext cx="11167447" cy="2018806"/>
          </a:xfrm>
          <a:prstGeom prst="rect">
            <a:avLst/>
          </a:prstGeom>
          <a:ln w="9525">
            <a:solidFill>
              <a:srgbClr val="E1E1E1"/>
            </a:solidFill>
          </a:ln>
          <a:effectLst>
            <a:outerShdw blurRad="50800" dist="38100" dir="2700000" algn="tl" rotWithShape="0">
              <a:schemeClr val="bg1">
                <a:lumMod val="85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useBgFill="1">
        <p:nvSpPr>
          <p:cNvPr id="12" name="Rectangle 11">
            <a:extLst>
              <a:ext uri="{FF2B5EF4-FFF2-40B4-BE49-F238E27FC236}">
                <a16:creationId xmlns:a16="http://schemas.microsoft.com/office/drawing/2014/main" id="{8E0105E7-23DB-4CF2-8258-FF47C7620F6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66928" y="0"/>
            <a:ext cx="11155680" cy="2011680"/>
          </a:xfrm>
          <a:prstGeom prst="rect">
            <a:avLst/>
          </a:prstGeom>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ítulo 1">
            <a:extLst>
              <a:ext uri="{FF2B5EF4-FFF2-40B4-BE49-F238E27FC236}">
                <a16:creationId xmlns:a16="http://schemas.microsoft.com/office/drawing/2014/main" id="{28547C12-267B-A48E-F359-67B2206F55CC}"/>
              </a:ext>
            </a:extLst>
          </p:cNvPr>
          <p:cNvSpPr>
            <a:spLocks noGrp="1"/>
          </p:cNvSpPr>
          <p:nvPr>
            <p:ph type="title"/>
          </p:nvPr>
        </p:nvSpPr>
        <p:spPr>
          <a:xfrm>
            <a:off x="1115568" y="548640"/>
            <a:ext cx="10168128" cy="1179576"/>
          </a:xfrm>
        </p:spPr>
        <p:txBody>
          <a:bodyPr vert="horz">
            <a:normAutofit fontScale="90000"/>
          </a:bodyPr>
          <a:lstStyle/>
          <a:p>
            <a:r>
              <a:rPr lang="es-MX" sz="4000" dirty="0"/>
              <a:t>Introducción al Modelo de Negocio de Compra y Venta de Vehículos Usados</a:t>
            </a:r>
            <a:endParaRPr lang="es-CL" sz="4000" dirty="0"/>
          </a:p>
        </p:txBody>
      </p:sp>
      <p:sp>
        <p:nvSpPr>
          <p:cNvPr id="14" name="Rectangle 13">
            <a:extLst>
              <a:ext uri="{FF2B5EF4-FFF2-40B4-BE49-F238E27FC236}">
                <a16:creationId xmlns:a16="http://schemas.microsoft.com/office/drawing/2014/main" id="{074B4F7D-14B2-478B-8BF5-01E4E0C5D26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98834" y="758952"/>
            <a:ext cx="128016" cy="70408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3" name="Marcador de contenido 2">
            <a:extLst>
              <a:ext uri="{FF2B5EF4-FFF2-40B4-BE49-F238E27FC236}">
                <a16:creationId xmlns:a16="http://schemas.microsoft.com/office/drawing/2014/main" id="{BB0E8C08-97EE-E36A-38C2-AA55C14A4CEB}"/>
              </a:ext>
            </a:extLst>
          </p:cNvPr>
          <p:cNvSpPr>
            <a:spLocks noGrp="1"/>
          </p:cNvSpPr>
          <p:nvPr>
            <p:ph idx="1"/>
          </p:nvPr>
        </p:nvSpPr>
        <p:spPr>
          <a:xfrm>
            <a:off x="704084" y="2144529"/>
            <a:ext cx="10168128" cy="3695020"/>
          </a:xfrm>
        </p:spPr>
        <p:txBody>
          <a:bodyPr>
            <a:normAutofit/>
          </a:bodyPr>
          <a:lstStyle/>
          <a:p>
            <a:endParaRPr lang="es-MX" sz="2200" dirty="0"/>
          </a:p>
          <a:p>
            <a:pPr>
              <a:lnSpc>
                <a:spcPct val="100000"/>
              </a:lnSpc>
            </a:pPr>
            <a:r>
              <a:rPr lang="es-MX" sz="1600" b="1" dirty="0"/>
              <a:t>Objetivo: </a:t>
            </a:r>
            <a:r>
              <a:rPr lang="es-MX" sz="1600" dirty="0"/>
              <a:t>Presentar un modelo de negocio, enfocado en la optimización de la gestión de talleres y el control de costos asociados.</a:t>
            </a:r>
          </a:p>
          <a:p>
            <a:pPr>
              <a:lnSpc>
                <a:spcPct val="100000"/>
              </a:lnSpc>
            </a:pPr>
            <a:r>
              <a:rPr lang="es-MX" sz="1600" b="1" dirty="0"/>
              <a:t>General: </a:t>
            </a:r>
            <a:r>
              <a:rPr lang="es-MX" sz="1600" dirty="0"/>
              <a:t>Este modelo de negocio se enfoca en la adquisición, reparación y reventa de vehículos usados, con un enfoque en la eficiencia operativa dentro de los talleres y la correcta tasación de vehículos.</a:t>
            </a:r>
          </a:p>
          <a:p>
            <a:pPr>
              <a:lnSpc>
                <a:spcPct val="100000"/>
              </a:lnSpc>
            </a:pPr>
            <a:r>
              <a:rPr lang="es-MX" sz="1600" b="1" dirty="0"/>
              <a:t>Propósito del Proyecto: </a:t>
            </a:r>
            <a:r>
              <a:rPr lang="es-MX" sz="1600" dirty="0"/>
              <a:t>Utilizar herramientas de SQL para analizar, gestionar y optimizar los datos relacionados con la entrada y salida de vehículos del taller, los costos de reparación, y la valoración final de los vehículos para maximizar la rentabilidad.</a:t>
            </a:r>
          </a:p>
          <a:p>
            <a:endParaRPr lang="es-CL" sz="2200" dirty="0"/>
          </a:p>
        </p:txBody>
      </p:sp>
      <p:pic>
        <p:nvPicPr>
          <p:cNvPr id="5" name="Imagen 4">
            <a:extLst>
              <a:ext uri="{FF2B5EF4-FFF2-40B4-BE49-F238E27FC236}">
                <a16:creationId xmlns:a16="http://schemas.microsoft.com/office/drawing/2014/main" id="{72511E89-A7B8-C94E-2BAA-41A8157EF7E7}"/>
              </a:ext>
            </a:extLst>
          </p:cNvPr>
          <p:cNvPicPr>
            <a:picLocks noChangeAspect="1"/>
          </p:cNvPicPr>
          <p:nvPr/>
        </p:nvPicPr>
        <p:blipFill>
          <a:blip r:embed="rId5"/>
          <a:stretch>
            <a:fillRect/>
          </a:stretch>
        </p:blipFill>
        <p:spPr>
          <a:xfrm>
            <a:off x="205986" y="114387"/>
            <a:ext cx="996196" cy="239175"/>
          </a:xfrm>
          <a:prstGeom prst="rect">
            <a:avLst/>
          </a:prstGeom>
        </p:spPr>
      </p:pic>
      <p:pic>
        <p:nvPicPr>
          <p:cNvPr id="6" name="Imagen 5">
            <a:extLst>
              <a:ext uri="{FF2B5EF4-FFF2-40B4-BE49-F238E27FC236}">
                <a16:creationId xmlns:a16="http://schemas.microsoft.com/office/drawing/2014/main" id="{B955850C-7C0F-327C-1700-6F40EF4DAEF6}"/>
              </a:ext>
            </a:extLst>
          </p:cNvPr>
          <p:cNvPicPr>
            <a:picLocks noChangeAspect="1"/>
          </p:cNvPicPr>
          <p:nvPr/>
        </p:nvPicPr>
        <p:blipFill>
          <a:blip r:embed="rId6"/>
          <a:stretch>
            <a:fillRect/>
          </a:stretch>
        </p:blipFill>
        <p:spPr>
          <a:xfrm>
            <a:off x="1345543" y="-7126"/>
            <a:ext cx="1068461" cy="375367"/>
          </a:xfrm>
          <a:prstGeom prst="rect">
            <a:avLst/>
          </a:prstGeom>
        </p:spPr>
      </p:pic>
    </p:spTree>
    <p:extLst>
      <p:ext uri="{BB962C8B-B14F-4D97-AF65-F5344CB8AC3E}">
        <p14:creationId xmlns:p14="http://schemas.microsoft.com/office/powerpoint/2010/main" val="401707853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684DFBC-146D-F5D7-4F03-4EC3D48F7475}"/>
              </a:ext>
            </a:extLst>
          </p:cNvPr>
          <p:cNvGraphicFramePr>
            <a:graphicFrameLocks noChangeAspect="1"/>
          </p:cNvGraphicFramePr>
          <p:nvPr>
            <p:custDataLst>
              <p:tags r:id="rId1"/>
            </p:custDataLst>
            <p:extLst>
              <p:ext uri="{D42A27DB-BD31-4B8C-83A1-F6EECF244321}">
                <p14:modId xmlns:p14="http://schemas.microsoft.com/office/powerpoint/2010/main" val="15382431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95" imgH="396" progId="TCLayout.ActiveDocument.1">
                  <p:embed/>
                </p:oleObj>
              </mc:Choice>
              <mc:Fallback>
                <p:oleObj name="Diapositiva de think-cell" r:id="rId3" imgW="395" imgH="396" progId="TCLayout.ActiveDocument.1">
                  <p:embed/>
                  <p:pic>
                    <p:nvPicPr>
                      <p:cNvPr id="4" name="think-cell data - do not delete" hidden="1">
                        <a:extLst>
                          <a:ext uri="{FF2B5EF4-FFF2-40B4-BE49-F238E27FC236}">
                            <a16:creationId xmlns:a16="http://schemas.microsoft.com/office/drawing/2014/main" id="{D684DFBC-146D-F5D7-4F03-4EC3D48F747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useBgFill="1">
        <p:nvSpPr>
          <p:cNvPr id="8" name="Rectangle 7">
            <a:extLst>
              <a:ext uri="{FF2B5EF4-FFF2-40B4-BE49-F238E27FC236}">
                <a16:creationId xmlns:a16="http://schemas.microsoft.com/office/drawing/2014/main" id="{DAF1966E-FD40-4A4A-B61B-C4DF7FA05F0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10" name="Rectangle 9">
            <a:extLst>
              <a:ext uri="{FF2B5EF4-FFF2-40B4-BE49-F238E27FC236}">
                <a16:creationId xmlns:a16="http://schemas.microsoft.com/office/drawing/2014/main" id="{047BFA19-D45E-416B-A404-7AF2F3F2701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58209" y="0"/>
            <a:ext cx="11167447" cy="2018806"/>
          </a:xfrm>
          <a:prstGeom prst="rect">
            <a:avLst/>
          </a:prstGeom>
          <a:ln w="9525">
            <a:solidFill>
              <a:srgbClr val="E1E1E1"/>
            </a:solidFill>
          </a:ln>
          <a:effectLst>
            <a:outerShdw blurRad="50800" dist="38100" dir="2700000" algn="tl" rotWithShape="0">
              <a:schemeClr val="bg1">
                <a:lumMod val="85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useBgFill="1">
        <p:nvSpPr>
          <p:cNvPr id="12" name="Rectangle 11">
            <a:extLst>
              <a:ext uri="{FF2B5EF4-FFF2-40B4-BE49-F238E27FC236}">
                <a16:creationId xmlns:a16="http://schemas.microsoft.com/office/drawing/2014/main" id="{8E0105E7-23DB-4CF2-8258-FF47C7620F6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66928" y="0"/>
            <a:ext cx="11155680" cy="2011680"/>
          </a:xfrm>
          <a:prstGeom prst="rect">
            <a:avLst/>
          </a:prstGeom>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ítulo 1">
            <a:extLst>
              <a:ext uri="{FF2B5EF4-FFF2-40B4-BE49-F238E27FC236}">
                <a16:creationId xmlns:a16="http://schemas.microsoft.com/office/drawing/2014/main" id="{28547C12-267B-A48E-F359-67B2206F55CC}"/>
              </a:ext>
            </a:extLst>
          </p:cNvPr>
          <p:cNvSpPr>
            <a:spLocks noGrp="1"/>
          </p:cNvSpPr>
          <p:nvPr>
            <p:ph type="title"/>
          </p:nvPr>
        </p:nvSpPr>
        <p:spPr>
          <a:xfrm>
            <a:off x="1115568" y="548640"/>
            <a:ext cx="10168128" cy="1179576"/>
          </a:xfrm>
        </p:spPr>
        <p:txBody>
          <a:bodyPr vert="horz">
            <a:normAutofit/>
          </a:bodyPr>
          <a:lstStyle/>
          <a:p>
            <a:r>
              <a:rPr lang="es-MX" sz="4000" dirty="0"/>
              <a:t>Diagrama Entidad Relación</a:t>
            </a:r>
            <a:endParaRPr lang="es-CL" sz="4000" dirty="0"/>
          </a:p>
        </p:txBody>
      </p:sp>
      <p:sp>
        <p:nvSpPr>
          <p:cNvPr id="14" name="Rectangle 13">
            <a:extLst>
              <a:ext uri="{FF2B5EF4-FFF2-40B4-BE49-F238E27FC236}">
                <a16:creationId xmlns:a16="http://schemas.microsoft.com/office/drawing/2014/main" id="{074B4F7D-14B2-478B-8BF5-01E4E0C5D26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98834" y="758952"/>
            <a:ext cx="128016" cy="70408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pic>
        <p:nvPicPr>
          <p:cNvPr id="5" name="Imagen 4">
            <a:extLst>
              <a:ext uri="{FF2B5EF4-FFF2-40B4-BE49-F238E27FC236}">
                <a16:creationId xmlns:a16="http://schemas.microsoft.com/office/drawing/2014/main" id="{72511E89-A7B8-C94E-2BAA-41A8157EF7E7}"/>
              </a:ext>
            </a:extLst>
          </p:cNvPr>
          <p:cNvPicPr>
            <a:picLocks noChangeAspect="1"/>
          </p:cNvPicPr>
          <p:nvPr/>
        </p:nvPicPr>
        <p:blipFill>
          <a:blip r:embed="rId5"/>
          <a:stretch>
            <a:fillRect/>
          </a:stretch>
        </p:blipFill>
        <p:spPr>
          <a:xfrm>
            <a:off x="205986" y="114387"/>
            <a:ext cx="996196" cy="239175"/>
          </a:xfrm>
          <a:prstGeom prst="rect">
            <a:avLst/>
          </a:prstGeom>
        </p:spPr>
      </p:pic>
      <p:pic>
        <p:nvPicPr>
          <p:cNvPr id="6" name="Imagen 5">
            <a:extLst>
              <a:ext uri="{FF2B5EF4-FFF2-40B4-BE49-F238E27FC236}">
                <a16:creationId xmlns:a16="http://schemas.microsoft.com/office/drawing/2014/main" id="{B955850C-7C0F-327C-1700-6F40EF4DAEF6}"/>
              </a:ext>
            </a:extLst>
          </p:cNvPr>
          <p:cNvPicPr>
            <a:picLocks noChangeAspect="1"/>
          </p:cNvPicPr>
          <p:nvPr/>
        </p:nvPicPr>
        <p:blipFill>
          <a:blip r:embed="rId6"/>
          <a:stretch>
            <a:fillRect/>
          </a:stretch>
        </p:blipFill>
        <p:spPr>
          <a:xfrm>
            <a:off x="1345543" y="-7126"/>
            <a:ext cx="1068461" cy="375367"/>
          </a:xfrm>
          <a:prstGeom prst="rect">
            <a:avLst/>
          </a:prstGeom>
        </p:spPr>
      </p:pic>
      <p:sp>
        <p:nvSpPr>
          <p:cNvPr id="15" name="AutoShape 2" descr="A well-designed Entity-Relationship Diagram (ERD) representing a database with the following entities and their relationships: &#10;&#10;Entities:&#10;1. **Vehicles**: Attributes - ID_Vehículo (PK), Marca, Modelo, Año, Concesionario, Precio_Lista, Gasto_Reparacion, Patente, Combustible, Cilindrada.&#10;2. **Gestión de Taller**: Attributes - id_taller (PK), Patente, Gasto_Reparación, Sucursal, Taller, Zona, Tipo_Reparación, Día_Ingreso, Fecha_Salida, Fecha_Salida_Estimada, Asesor.&#10;3. **Ventas**: Attributes - id_venta (PK), Empresa, Factura, Fecha_Factura, Patente, Marca, Modelo, Rut_Cliente, Nombre_Cliente, Estado_Facturación, Nombre_Vendedor, Valor_Factura, Valor_Compra, Gastos_Reparación, Margen.&#10;4. **Gastos Reparación**: Attributes - id_vale (PK), Número de Albarán, Gasto_Reparación, Patente, Sucursal, Taller, Zona.&#10;5. **Inspección**: Attributes - id_inspección (PK), Valor_Tasación, Estado_Reparación, Patente, Demérito, Sucursal, Nombre_Proveedor, Zona.&#10;&#10;Relationships:&#10;- **Vehicles** to **Gestión de Taller**: One-to-Many&#10;- **Vehicles** to **Ventas**: One-to-Many&#10;- **Vehicles** to **Gastos Reparación**: One-to-Many&#10;- **Vehicles** to **Inspección**: One-to-Many&#10;&#10;The ERD should be clear, visually appealing, and easy to understand. Use colors to differentiate between entities and relationships, and ensure that the primary keys and foreign keys are well marked.">
            <a:extLst>
              <a:ext uri="{FF2B5EF4-FFF2-40B4-BE49-F238E27FC236}">
                <a16:creationId xmlns:a16="http://schemas.microsoft.com/office/drawing/2014/main" id="{70BD6386-E510-30ED-2591-65DC0DE8F33B}"/>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CL"/>
          </a:p>
        </p:txBody>
      </p:sp>
      <p:pic>
        <p:nvPicPr>
          <p:cNvPr id="7" name="Imagen 6">
            <a:extLst>
              <a:ext uri="{FF2B5EF4-FFF2-40B4-BE49-F238E27FC236}">
                <a16:creationId xmlns:a16="http://schemas.microsoft.com/office/drawing/2014/main" id="{C9663B6E-0E46-B34B-2FB8-ADC00BB3F858}"/>
              </a:ext>
            </a:extLst>
          </p:cNvPr>
          <p:cNvPicPr>
            <a:picLocks noChangeAspect="1"/>
          </p:cNvPicPr>
          <p:nvPr/>
        </p:nvPicPr>
        <p:blipFill>
          <a:blip r:embed="rId7"/>
          <a:stretch>
            <a:fillRect/>
          </a:stretch>
        </p:blipFill>
        <p:spPr>
          <a:xfrm>
            <a:off x="3004458" y="2399489"/>
            <a:ext cx="4988542" cy="4077828"/>
          </a:xfrm>
          <a:prstGeom prst="rect">
            <a:avLst/>
          </a:prstGeom>
        </p:spPr>
      </p:pic>
    </p:spTree>
    <p:extLst>
      <p:ext uri="{BB962C8B-B14F-4D97-AF65-F5344CB8AC3E}">
        <p14:creationId xmlns:p14="http://schemas.microsoft.com/office/powerpoint/2010/main" val="53906632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684DFBC-146D-F5D7-4F03-4EC3D48F7475}"/>
              </a:ext>
            </a:extLst>
          </p:cNvPr>
          <p:cNvGraphicFramePr>
            <a:graphicFrameLocks noChangeAspect="1"/>
          </p:cNvGraphicFramePr>
          <p:nvPr>
            <p:custDataLst>
              <p:tags r:id="rId1"/>
            </p:custDataLst>
            <p:extLst>
              <p:ext uri="{D42A27DB-BD31-4B8C-83A1-F6EECF244321}">
                <p14:modId xmlns:p14="http://schemas.microsoft.com/office/powerpoint/2010/main" val="34922114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95" imgH="396" progId="TCLayout.ActiveDocument.1">
                  <p:embed/>
                </p:oleObj>
              </mc:Choice>
              <mc:Fallback>
                <p:oleObj name="Diapositiva de think-cell" r:id="rId3" imgW="395" imgH="396" progId="TCLayout.ActiveDocument.1">
                  <p:embed/>
                  <p:pic>
                    <p:nvPicPr>
                      <p:cNvPr id="4" name="think-cell data - do not delete" hidden="1">
                        <a:extLst>
                          <a:ext uri="{FF2B5EF4-FFF2-40B4-BE49-F238E27FC236}">
                            <a16:creationId xmlns:a16="http://schemas.microsoft.com/office/drawing/2014/main" id="{D684DFBC-146D-F5D7-4F03-4EC3D48F747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useBgFill="1">
        <p:nvSpPr>
          <p:cNvPr id="8" name="Rectangle 7">
            <a:extLst>
              <a:ext uri="{FF2B5EF4-FFF2-40B4-BE49-F238E27FC236}">
                <a16:creationId xmlns:a16="http://schemas.microsoft.com/office/drawing/2014/main" id="{DAF1966E-FD40-4A4A-B61B-C4DF7FA05F0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10" name="Rectangle 9">
            <a:extLst>
              <a:ext uri="{FF2B5EF4-FFF2-40B4-BE49-F238E27FC236}">
                <a16:creationId xmlns:a16="http://schemas.microsoft.com/office/drawing/2014/main" id="{047BFA19-D45E-416B-A404-7AF2F3F2701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58209" y="0"/>
            <a:ext cx="11167447" cy="2018806"/>
          </a:xfrm>
          <a:prstGeom prst="rect">
            <a:avLst/>
          </a:prstGeom>
          <a:ln w="9525">
            <a:solidFill>
              <a:srgbClr val="E1E1E1"/>
            </a:solidFill>
          </a:ln>
          <a:effectLst>
            <a:outerShdw blurRad="50800" dist="38100" dir="2700000" algn="tl" rotWithShape="0">
              <a:schemeClr val="bg1">
                <a:lumMod val="85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useBgFill="1">
        <p:nvSpPr>
          <p:cNvPr id="12" name="Rectangle 11">
            <a:extLst>
              <a:ext uri="{FF2B5EF4-FFF2-40B4-BE49-F238E27FC236}">
                <a16:creationId xmlns:a16="http://schemas.microsoft.com/office/drawing/2014/main" id="{8E0105E7-23DB-4CF2-8258-FF47C7620F6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66928" y="0"/>
            <a:ext cx="11155680" cy="2011680"/>
          </a:xfrm>
          <a:prstGeom prst="rect">
            <a:avLst/>
          </a:prstGeom>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ítulo 1">
            <a:extLst>
              <a:ext uri="{FF2B5EF4-FFF2-40B4-BE49-F238E27FC236}">
                <a16:creationId xmlns:a16="http://schemas.microsoft.com/office/drawing/2014/main" id="{28547C12-267B-A48E-F359-67B2206F55CC}"/>
              </a:ext>
            </a:extLst>
          </p:cNvPr>
          <p:cNvSpPr>
            <a:spLocks noGrp="1"/>
          </p:cNvSpPr>
          <p:nvPr>
            <p:ph type="title"/>
          </p:nvPr>
        </p:nvSpPr>
        <p:spPr>
          <a:xfrm>
            <a:off x="1115568" y="548640"/>
            <a:ext cx="10168128" cy="1179576"/>
          </a:xfrm>
        </p:spPr>
        <p:txBody>
          <a:bodyPr vert="horz">
            <a:normAutofit/>
          </a:bodyPr>
          <a:lstStyle/>
          <a:p>
            <a:r>
              <a:rPr lang="es-MX" sz="4000" dirty="0"/>
              <a:t>Modelo Esquemático</a:t>
            </a:r>
            <a:endParaRPr lang="es-CL" sz="4000" dirty="0"/>
          </a:p>
        </p:txBody>
      </p:sp>
      <p:sp>
        <p:nvSpPr>
          <p:cNvPr id="14" name="Rectangle 13">
            <a:extLst>
              <a:ext uri="{FF2B5EF4-FFF2-40B4-BE49-F238E27FC236}">
                <a16:creationId xmlns:a16="http://schemas.microsoft.com/office/drawing/2014/main" id="{074B4F7D-14B2-478B-8BF5-01E4E0C5D26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98834" y="758952"/>
            <a:ext cx="128016" cy="70408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pic>
        <p:nvPicPr>
          <p:cNvPr id="5" name="Imagen 4">
            <a:extLst>
              <a:ext uri="{FF2B5EF4-FFF2-40B4-BE49-F238E27FC236}">
                <a16:creationId xmlns:a16="http://schemas.microsoft.com/office/drawing/2014/main" id="{72511E89-A7B8-C94E-2BAA-41A8157EF7E7}"/>
              </a:ext>
            </a:extLst>
          </p:cNvPr>
          <p:cNvPicPr>
            <a:picLocks noChangeAspect="1"/>
          </p:cNvPicPr>
          <p:nvPr/>
        </p:nvPicPr>
        <p:blipFill>
          <a:blip r:embed="rId5"/>
          <a:stretch>
            <a:fillRect/>
          </a:stretch>
        </p:blipFill>
        <p:spPr>
          <a:xfrm>
            <a:off x="205986" y="114387"/>
            <a:ext cx="996196" cy="239175"/>
          </a:xfrm>
          <a:prstGeom prst="rect">
            <a:avLst/>
          </a:prstGeom>
        </p:spPr>
      </p:pic>
      <p:pic>
        <p:nvPicPr>
          <p:cNvPr id="6" name="Imagen 5">
            <a:extLst>
              <a:ext uri="{FF2B5EF4-FFF2-40B4-BE49-F238E27FC236}">
                <a16:creationId xmlns:a16="http://schemas.microsoft.com/office/drawing/2014/main" id="{B955850C-7C0F-327C-1700-6F40EF4DAEF6}"/>
              </a:ext>
            </a:extLst>
          </p:cNvPr>
          <p:cNvPicPr>
            <a:picLocks noChangeAspect="1"/>
          </p:cNvPicPr>
          <p:nvPr/>
        </p:nvPicPr>
        <p:blipFill>
          <a:blip r:embed="rId6"/>
          <a:stretch>
            <a:fillRect/>
          </a:stretch>
        </p:blipFill>
        <p:spPr>
          <a:xfrm>
            <a:off x="1345543" y="-7126"/>
            <a:ext cx="1068461" cy="375367"/>
          </a:xfrm>
          <a:prstGeom prst="rect">
            <a:avLst/>
          </a:prstGeom>
        </p:spPr>
      </p:pic>
      <p:sp>
        <p:nvSpPr>
          <p:cNvPr id="15" name="AutoShape 2" descr="A well-designed Entity-Relationship Diagram (ERD) representing a database with the following entities and their relationships: &#10;&#10;Entities:&#10;1. **Vehicles**: Attributes - ID_Vehículo (PK), Marca, Modelo, Año, Concesionario, Precio_Lista, Gasto_Reparacion, Patente, Combustible, Cilindrada.&#10;2. **Gestión de Taller**: Attributes - id_taller (PK), Patente, Gasto_Reparación, Sucursal, Taller, Zona, Tipo_Reparación, Día_Ingreso, Fecha_Salida, Fecha_Salida_Estimada, Asesor.&#10;3. **Ventas**: Attributes - id_venta (PK), Empresa, Factura, Fecha_Factura, Patente, Marca, Modelo, Rut_Cliente, Nombre_Cliente, Estado_Facturación, Nombre_Vendedor, Valor_Factura, Valor_Compra, Gastos_Reparación, Margen.&#10;4. **Gastos Reparación**: Attributes - id_vale (PK), Número de Albarán, Gasto_Reparación, Patente, Sucursal, Taller, Zona.&#10;5. **Inspección**: Attributes - id_inspección (PK), Valor_Tasación, Estado_Reparación, Patente, Demérito, Sucursal, Nombre_Proveedor, Zona.&#10;&#10;Relationships:&#10;- **Vehicles** to **Gestión de Taller**: One-to-Many&#10;- **Vehicles** to **Ventas**: One-to-Many&#10;- **Vehicles** to **Gastos Reparación**: One-to-Many&#10;- **Vehicles** to **Inspección**: One-to-Many&#10;&#10;The ERD should be clear, visually appealing, and easy to understand. Use colors to differentiate between entities and relationships, and ensure that the primary keys and foreign keys are well marked.">
            <a:extLst>
              <a:ext uri="{FF2B5EF4-FFF2-40B4-BE49-F238E27FC236}">
                <a16:creationId xmlns:a16="http://schemas.microsoft.com/office/drawing/2014/main" id="{70BD6386-E510-30ED-2591-65DC0DE8F33B}"/>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CL"/>
          </a:p>
        </p:txBody>
      </p:sp>
      <p:pic>
        <p:nvPicPr>
          <p:cNvPr id="3" name="Picture 1">
            <a:extLst>
              <a:ext uri="{FF2B5EF4-FFF2-40B4-BE49-F238E27FC236}">
                <a16:creationId xmlns:a16="http://schemas.microsoft.com/office/drawing/2014/main" id="{C04E8DFB-564A-7452-60C3-6EFDF6D05E4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214370" y="2005446"/>
            <a:ext cx="3360601" cy="4679380"/>
          </a:xfrm>
          <a:prstGeom prst="rect">
            <a:avLst/>
          </a:prstGeom>
        </p:spPr>
      </p:pic>
    </p:spTree>
    <p:extLst>
      <p:ext uri="{BB962C8B-B14F-4D97-AF65-F5344CB8AC3E}">
        <p14:creationId xmlns:p14="http://schemas.microsoft.com/office/powerpoint/2010/main" val="386974783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684DFBC-146D-F5D7-4F03-4EC3D48F7475}"/>
              </a:ext>
            </a:extLst>
          </p:cNvPr>
          <p:cNvGraphicFramePr>
            <a:graphicFrameLocks noChangeAspect="1"/>
          </p:cNvGraphicFramePr>
          <p:nvPr>
            <p:custDataLst>
              <p:tags r:id="rId1"/>
            </p:custDataLst>
            <p:extLst>
              <p:ext uri="{D42A27DB-BD31-4B8C-83A1-F6EECF244321}">
                <p14:modId xmlns:p14="http://schemas.microsoft.com/office/powerpoint/2010/main" val="1804407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95" imgH="396" progId="TCLayout.ActiveDocument.1">
                  <p:embed/>
                </p:oleObj>
              </mc:Choice>
              <mc:Fallback>
                <p:oleObj name="Diapositiva de think-cell" r:id="rId3" imgW="395" imgH="396" progId="TCLayout.ActiveDocument.1">
                  <p:embed/>
                  <p:pic>
                    <p:nvPicPr>
                      <p:cNvPr id="4" name="think-cell data - do not delete" hidden="1">
                        <a:extLst>
                          <a:ext uri="{FF2B5EF4-FFF2-40B4-BE49-F238E27FC236}">
                            <a16:creationId xmlns:a16="http://schemas.microsoft.com/office/drawing/2014/main" id="{D684DFBC-146D-F5D7-4F03-4EC3D48F747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useBgFill="1">
        <p:nvSpPr>
          <p:cNvPr id="8" name="Rectangle 7">
            <a:extLst>
              <a:ext uri="{FF2B5EF4-FFF2-40B4-BE49-F238E27FC236}">
                <a16:creationId xmlns:a16="http://schemas.microsoft.com/office/drawing/2014/main" id="{DAF1966E-FD40-4A4A-B61B-C4DF7FA05F0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10" name="Rectangle 9">
            <a:extLst>
              <a:ext uri="{FF2B5EF4-FFF2-40B4-BE49-F238E27FC236}">
                <a16:creationId xmlns:a16="http://schemas.microsoft.com/office/drawing/2014/main" id="{047BFA19-D45E-416B-A404-7AF2F3F2701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58209" y="0"/>
            <a:ext cx="11167447" cy="2018806"/>
          </a:xfrm>
          <a:prstGeom prst="rect">
            <a:avLst/>
          </a:prstGeom>
          <a:ln w="9525">
            <a:solidFill>
              <a:srgbClr val="E1E1E1"/>
            </a:solidFill>
          </a:ln>
          <a:effectLst>
            <a:outerShdw blurRad="50800" dist="38100" dir="2700000" algn="tl" rotWithShape="0">
              <a:schemeClr val="bg1">
                <a:lumMod val="85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useBgFill="1">
        <p:nvSpPr>
          <p:cNvPr id="12" name="Rectangle 11">
            <a:extLst>
              <a:ext uri="{FF2B5EF4-FFF2-40B4-BE49-F238E27FC236}">
                <a16:creationId xmlns:a16="http://schemas.microsoft.com/office/drawing/2014/main" id="{8E0105E7-23DB-4CF2-8258-FF47C7620F6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66928" y="0"/>
            <a:ext cx="11155680" cy="2011680"/>
          </a:xfrm>
          <a:prstGeom prst="rect">
            <a:avLst/>
          </a:prstGeom>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ítulo 1">
            <a:extLst>
              <a:ext uri="{FF2B5EF4-FFF2-40B4-BE49-F238E27FC236}">
                <a16:creationId xmlns:a16="http://schemas.microsoft.com/office/drawing/2014/main" id="{28547C12-267B-A48E-F359-67B2206F55CC}"/>
              </a:ext>
            </a:extLst>
          </p:cNvPr>
          <p:cNvSpPr>
            <a:spLocks noGrp="1"/>
          </p:cNvSpPr>
          <p:nvPr>
            <p:ph type="title"/>
          </p:nvPr>
        </p:nvSpPr>
        <p:spPr>
          <a:xfrm>
            <a:off x="1115568" y="548640"/>
            <a:ext cx="10168128" cy="1179576"/>
          </a:xfrm>
        </p:spPr>
        <p:txBody>
          <a:bodyPr vert="horz">
            <a:normAutofit/>
          </a:bodyPr>
          <a:lstStyle/>
          <a:p>
            <a:r>
              <a:rPr lang="es-MX" sz="4000" dirty="0"/>
              <a:t>Diagrama de Tablas</a:t>
            </a:r>
            <a:endParaRPr lang="es-CL" sz="4000" dirty="0"/>
          </a:p>
        </p:txBody>
      </p:sp>
      <p:sp>
        <p:nvSpPr>
          <p:cNvPr id="14" name="Rectangle 13">
            <a:extLst>
              <a:ext uri="{FF2B5EF4-FFF2-40B4-BE49-F238E27FC236}">
                <a16:creationId xmlns:a16="http://schemas.microsoft.com/office/drawing/2014/main" id="{074B4F7D-14B2-478B-8BF5-01E4E0C5D26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98834" y="758952"/>
            <a:ext cx="128016" cy="70408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pic>
        <p:nvPicPr>
          <p:cNvPr id="5" name="Imagen 4">
            <a:extLst>
              <a:ext uri="{FF2B5EF4-FFF2-40B4-BE49-F238E27FC236}">
                <a16:creationId xmlns:a16="http://schemas.microsoft.com/office/drawing/2014/main" id="{72511E89-A7B8-C94E-2BAA-41A8157EF7E7}"/>
              </a:ext>
            </a:extLst>
          </p:cNvPr>
          <p:cNvPicPr>
            <a:picLocks noChangeAspect="1"/>
          </p:cNvPicPr>
          <p:nvPr/>
        </p:nvPicPr>
        <p:blipFill>
          <a:blip r:embed="rId5"/>
          <a:stretch>
            <a:fillRect/>
          </a:stretch>
        </p:blipFill>
        <p:spPr>
          <a:xfrm>
            <a:off x="205986" y="114387"/>
            <a:ext cx="996196" cy="239175"/>
          </a:xfrm>
          <a:prstGeom prst="rect">
            <a:avLst/>
          </a:prstGeom>
        </p:spPr>
      </p:pic>
      <p:pic>
        <p:nvPicPr>
          <p:cNvPr id="6" name="Imagen 5">
            <a:extLst>
              <a:ext uri="{FF2B5EF4-FFF2-40B4-BE49-F238E27FC236}">
                <a16:creationId xmlns:a16="http://schemas.microsoft.com/office/drawing/2014/main" id="{B955850C-7C0F-327C-1700-6F40EF4DAEF6}"/>
              </a:ext>
            </a:extLst>
          </p:cNvPr>
          <p:cNvPicPr>
            <a:picLocks noChangeAspect="1"/>
          </p:cNvPicPr>
          <p:nvPr/>
        </p:nvPicPr>
        <p:blipFill>
          <a:blip r:embed="rId6"/>
          <a:stretch>
            <a:fillRect/>
          </a:stretch>
        </p:blipFill>
        <p:spPr>
          <a:xfrm>
            <a:off x="1345543" y="-7126"/>
            <a:ext cx="1068461" cy="375367"/>
          </a:xfrm>
          <a:prstGeom prst="rect">
            <a:avLst/>
          </a:prstGeom>
        </p:spPr>
      </p:pic>
      <p:sp>
        <p:nvSpPr>
          <p:cNvPr id="15" name="AutoShape 2" descr="A well-designed Entity-Relationship Diagram (ERD) representing a database with the following entities and their relationships: &#10;&#10;Entities:&#10;1. **Vehicles**: Attributes - ID_Vehículo (PK), Marca, Modelo, Año, Concesionario, Precio_Lista, Gasto_Reparacion, Patente, Combustible, Cilindrada.&#10;2. **Gestión de Taller**: Attributes - id_taller (PK), Patente, Gasto_Reparación, Sucursal, Taller, Zona, Tipo_Reparación, Día_Ingreso, Fecha_Salida, Fecha_Salida_Estimada, Asesor.&#10;3. **Ventas**: Attributes - id_venta (PK), Empresa, Factura, Fecha_Factura, Patente, Marca, Modelo, Rut_Cliente, Nombre_Cliente, Estado_Facturación, Nombre_Vendedor, Valor_Factura, Valor_Compra, Gastos_Reparación, Margen.&#10;4. **Gastos Reparación**: Attributes - id_vale (PK), Número de Albarán, Gasto_Reparación, Patente, Sucursal, Taller, Zona.&#10;5. **Inspección**: Attributes - id_inspección (PK), Valor_Tasación, Estado_Reparación, Patente, Demérito, Sucursal, Nombre_Proveedor, Zona.&#10;&#10;Relationships:&#10;- **Vehicles** to **Gestión de Taller**: One-to-Many&#10;- **Vehicles** to **Ventas**: One-to-Many&#10;- **Vehicles** to **Gastos Reparación**: One-to-Many&#10;- **Vehicles** to **Inspección**: One-to-Many&#10;&#10;The ERD should be clear, visually appealing, and easy to understand. Use colors to differentiate between entities and relationships, and ensure that the primary keys and foreign keys are well marked.">
            <a:extLst>
              <a:ext uri="{FF2B5EF4-FFF2-40B4-BE49-F238E27FC236}">
                <a16:creationId xmlns:a16="http://schemas.microsoft.com/office/drawing/2014/main" id="{70BD6386-E510-30ED-2591-65DC0DE8F33B}"/>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CL"/>
          </a:p>
        </p:txBody>
      </p:sp>
      <p:graphicFrame>
        <p:nvGraphicFramePr>
          <p:cNvPr id="9" name="Tabla 8">
            <a:extLst>
              <a:ext uri="{FF2B5EF4-FFF2-40B4-BE49-F238E27FC236}">
                <a16:creationId xmlns:a16="http://schemas.microsoft.com/office/drawing/2014/main" id="{8E8AF346-C071-08D7-0D68-A6F59DC907E5}"/>
              </a:ext>
            </a:extLst>
          </p:cNvPr>
          <p:cNvGraphicFramePr>
            <a:graphicFrameLocks noGrp="1"/>
          </p:cNvGraphicFramePr>
          <p:nvPr>
            <p:extLst>
              <p:ext uri="{D42A27DB-BD31-4B8C-83A1-F6EECF244321}">
                <p14:modId xmlns:p14="http://schemas.microsoft.com/office/powerpoint/2010/main" val="3570614181"/>
              </p:ext>
            </p:extLst>
          </p:nvPr>
        </p:nvGraphicFramePr>
        <p:xfrm>
          <a:off x="1202182" y="2027121"/>
          <a:ext cx="6883404" cy="4483724"/>
        </p:xfrm>
        <a:graphic>
          <a:graphicData uri="http://schemas.openxmlformats.org/drawingml/2006/table">
            <a:tbl>
              <a:tblPr firstRow="1" bandRow="1">
                <a:tableStyleId>{5C22544A-7EE6-4342-B048-85BDC9FD1C3A}</a:tableStyleId>
              </a:tblPr>
              <a:tblGrid>
                <a:gridCol w="1147234">
                  <a:extLst>
                    <a:ext uri="{9D8B030D-6E8A-4147-A177-3AD203B41FA5}">
                      <a16:colId xmlns:a16="http://schemas.microsoft.com/office/drawing/2014/main" val="4107898872"/>
                    </a:ext>
                  </a:extLst>
                </a:gridCol>
                <a:gridCol w="1147234">
                  <a:extLst>
                    <a:ext uri="{9D8B030D-6E8A-4147-A177-3AD203B41FA5}">
                      <a16:colId xmlns:a16="http://schemas.microsoft.com/office/drawing/2014/main" val="305140494"/>
                    </a:ext>
                  </a:extLst>
                </a:gridCol>
                <a:gridCol w="1147234">
                  <a:extLst>
                    <a:ext uri="{9D8B030D-6E8A-4147-A177-3AD203B41FA5}">
                      <a16:colId xmlns:a16="http://schemas.microsoft.com/office/drawing/2014/main" val="581951675"/>
                    </a:ext>
                  </a:extLst>
                </a:gridCol>
                <a:gridCol w="1147234">
                  <a:extLst>
                    <a:ext uri="{9D8B030D-6E8A-4147-A177-3AD203B41FA5}">
                      <a16:colId xmlns:a16="http://schemas.microsoft.com/office/drawing/2014/main" val="409082978"/>
                    </a:ext>
                  </a:extLst>
                </a:gridCol>
                <a:gridCol w="1147234">
                  <a:extLst>
                    <a:ext uri="{9D8B030D-6E8A-4147-A177-3AD203B41FA5}">
                      <a16:colId xmlns:a16="http://schemas.microsoft.com/office/drawing/2014/main" val="3742474108"/>
                    </a:ext>
                  </a:extLst>
                </a:gridCol>
                <a:gridCol w="1147234">
                  <a:extLst>
                    <a:ext uri="{9D8B030D-6E8A-4147-A177-3AD203B41FA5}">
                      <a16:colId xmlns:a16="http://schemas.microsoft.com/office/drawing/2014/main" val="38972228"/>
                    </a:ext>
                  </a:extLst>
                </a:gridCol>
              </a:tblGrid>
              <a:tr h="1201044">
                <a:tc>
                  <a:txBody>
                    <a:bodyPr/>
                    <a:lstStyle/>
                    <a:p>
                      <a:pPr algn="ctr"/>
                      <a:r>
                        <a:rPr lang="es-CL" dirty="0"/>
                        <a:t>Tabla</a:t>
                      </a:r>
                    </a:p>
                  </a:txBody>
                  <a:tcPr anchor="ctr"/>
                </a:tc>
                <a:tc>
                  <a:txBody>
                    <a:bodyPr/>
                    <a:lstStyle/>
                    <a:p>
                      <a:pPr algn="ctr"/>
                      <a:r>
                        <a:rPr lang="es-CL" dirty="0"/>
                        <a:t>Campos</a:t>
                      </a:r>
                    </a:p>
                  </a:txBody>
                  <a:tcPr anchor="ctr"/>
                </a:tc>
                <a:tc>
                  <a:txBody>
                    <a:bodyPr/>
                    <a:lstStyle/>
                    <a:p>
                      <a:pPr algn="ctr"/>
                      <a:r>
                        <a:rPr lang="es-CL" dirty="0"/>
                        <a:t>Detalle Campo</a:t>
                      </a:r>
                    </a:p>
                  </a:txBody>
                  <a:tcPr anchor="ctr"/>
                </a:tc>
                <a:tc>
                  <a:txBody>
                    <a:bodyPr/>
                    <a:lstStyle/>
                    <a:p>
                      <a:pPr algn="ctr"/>
                      <a:r>
                        <a:rPr lang="es-CL" dirty="0" err="1"/>
                        <a:t>Pk</a:t>
                      </a:r>
                      <a:endParaRPr lang="es-CL" dirty="0"/>
                    </a:p>
                  </a:txBody>
                  <a:tcPr anchor="ctr"/>
                </a:tc>
                <a:tc>
                  <a:txBody>
                    <a:bodyPr/>
                    <a:lstStyle/>
                    <a:p>
                      <a:pPr algn="ctr"/>
                      <a:r>
                        <a:rPr lang="es-CL" dirty="0" err="1"/>
                        <a:t>Fk</a:t>
                      </a:r>
                      <a:endParaRPr lang="es-CL" dirty="0"/>
                    </a:p>
                  </a:txBody>
                  <a:tcPr anchor="ctr"/>
                </a:tc>
                <a:tc>
                  <a:txBody>
                    <a:bodyPr/>
                    <a:lstStyle/>
                    <a:p>
                      <a:pPr algn="ctr"/>
                      <a:r>
                        <a:rPr lang="es-CL" dirty="0"/>
                        <a:t>Tipo Dato</a:t>
                      </a:r>
                    </a:p>
                  </a:txBody>
                  <a:tcPr anchor="ctr"/>
                </a:tc>
                <a:extLst>
                  <a:ext uri="{0D108BD9-81ED-4DB2-BD59-A6C34878D82A}">
                    <a16:rowId xmlns:a16="http://schemas.microsoft.com/office/drawing/2014/main" val="870513019"/>
                  </a:ext>
                </a:extLst>
              </a:tr>
              <a:tr h="656536">
                <a:tc>
                  <a:txBody>
                    <a:bodyPr/>
                    <a:lstStyle/>
                    <a:p>
                      <a:pPr algn="ctr"/>
                      <a:endParaRPr lang="es-CL"/>
                    </a:p>
                  </a:txBody>
                  <a:tcPr anchor="ctr"/>
                </a:tc>
                <a:tc>
                  <a:txBody>
                    <a:bodyPr/>
                    <a:lstStyle/>
                    <a:p>
                      <a:pPr algn="ctr"/>
                      <a:endParaRPr lang="es-CL"/>
                    </a:p>
                  </a:txBody>
                  <a:tcPr anchor="ctr"/>
                </a:tc>
                <a:tc>
                  <a:txBody>
                    <a:bodyPr/>
                    <a:lstStyle/>
                    <a:p>
                      <a:pPr algn="ctr"/>
                      <a:endParaRPr lang="es-CL" dirty="0"/>
                    </a:p>
                  </a:txBody>
                  <a:tcPr anchor="ctr"/>
                </a:tc>
                <a:tc>
                  <a:txBody>
                    <a:bodyPr/>
                    <a:lstStyle/>
                    <a:p>
                      <a:pPr algn="ctr"/>
                      <a:endParaRPr lang="es-CL" dirty="0"/>
                    </a:p>
                  </a:txBody>
                  <a:tcPr anchor="ctr"/>
                </a:tc>
                <a:tc>
                  <a:txBody>
                    <a:bodyPr/>
                    <a:lstStyle/>
                    <a:p>
                      <a:pPr algn="ctr"/>
                      <a:endParaRPr lang="es-CL"/>
                    </a:p>
                  </a:txBody>
                  <a:tcPr anchor="ctr"/>
                </a:tc>
                <a:tc>
                  <a:txBody>
                    <a:bodyPr/>
                    <a:lstStyle/>
                    <a:p>
                      <a:pPr algn="ctr"/>
                      <a:endParaRPr lang="es-CL"/>
                    </a:p>
                  </a:txBody>
                  <a:tcPr anchor="ctr"/>
                </a:tc>
                <a:extLst>
                  <a:ext uri="{0D108BD9-81ED-4DB2-BD59-A6C34878D82A}">
                    <a16:rowId xmlns:a16="http://schemas.microsoft.com/office/drawing/2014/main" val="1802497758"/>
                  </a:ext>
                </a:extLst>
              </a:tr>
              <a:tr h="656536">
                <a:tc>
                  <a:txBody>
                    <a:bodyPr/>
                    <a:lstStyle/>
                    <a:p>
                      <a:pPr algn="ctr"/>
                      <a:endParaRPr lang="es-CL"/>
                    </a:p>
                  </a:txBody>
                  <a:tcPr anchor="ctr"/>
                </a:tc>
                <a:tc>
                  <a:txBody>
                    <a:bodyPr/>
                    <a:lstStyle/>
                    <a:p>
                      <a:pPr algn="ctr"/>
                      <a:endParaRPr lang="es-CL"/>
                    </a:p>
                  </a:txBody>
                  <a:tcPr anchor="ctr"/>
                </a:tc>
                <a:tc>
                  <a:txBody>
                    <a:bodyPr/>
                    <a:lstStyle/>
                    <a:p>
                      <a:pPr algn="ctr"/>
                      <a:endParaRPr lang="es-CL"/>
                    </a:p>
                  </a:txBody>
                  <a:tcPr anchor="ctr"/>
                </a:tc>
                <a:tc>
                  <a:txBody>
                    <a:bodyPr/>
                    <a:lstStyle/>
                    <a:p>
                      <a:pPr algn="ctr"/>
                      <a:endParaRPr lang="es-CL"/>
                    </a:p>
                  </a:txBody>
                  <a:tcPr anchor="ctr"/>
                </a:tc>
                <a:tc>
                  <a:txBody>
                    <a:bodyPr/>
                    <a:lstStyle/>
                    <a:p>
                      <a:pPr algn="ctr"/>
                      <a:endParaRPr lang="es-CL" dirty="0"/>
                    </a:p>
                  </a:txBody>
                  <a:tcPr anchor="ctr"/>
                </a:tc>
                <a:tc>
                  <a:txBody>
                    <a:bodyPr/>
                    <a:lstStyle/>
                    <a:p>
                      <a:pPr algn="ctr"/>
                      <a:endParaRPr lang="es-CL"/>
                    </a:p>
                  </a:txBody>
                  <a:tcPr anchor="ctr"/>
                </a:tc>
                <a:extLst>
                  <a:ext uri="{0D108BD9-81ED-4DB2-BD59-A6C34878D82A}">
                    <a16:rowId xmlns:a16="http://schemas.microsoft.com/office/drawing/2014/main" val="414797213"/>
                  </a:ext>
                </a:extLst>
              </a:tr>
              <a:tr h="656536">
                <a:tc>
                  <a:txBody>
                    <a:bodyPr/>
                    <a:lstStyle/>
                    <a:p>
                      <a:pPr algn="ctr"/>
                      <a:endParaRPr lang="es-CL"/>
                    </a:p>
                  </a:txBody>
                  <a:tcPr anchor="ctr"/>
                </a:tc>
                <a:tc>
                  <a:txBody>
                    <a:bodyPr/>
                    <a:lstStyle/>
                    <a:p>
                      <a:pPr algn="ctr"/>
                      <a:endParaRPr lang="es-CL"/>
                    </a:p>
                  </a:txBody>
                  <a:tcPr anchor="ctr"/>
                </a:tc>
                <a:tc>
                  <a:txBody>
                    <a:bodyPr/>
                    <a:lstStyle/>
                    <a:p>
                      <a:pPr algn="ctr"/>
                      <a:endParaRPr lang="es-CL"/>
                    </a:p>
                  </a:txBody>
                  <a:tcPr anchor="ctr"/>
                </a:tc>
                <a:tc>
                  <a:txBody>
                    <a:bodyPr/>
                    <a:lstStyle/>
                    <a:p>
                      <a:pPr algn="ctr"/>
                      <a:endParaRPr lang="es-CL"/>
                    </a:p>
                  </a:txBody>
                  <a:tcPr anchor="ctr"/>
                </a:tc>
                <a:tc>
                  <a:txBody>
                    <a:bodyPr/>
                    <a:lstStyle/>
                    <a:p>
                      <a:pPr algn="ctr"/>
                      <a:endParaRPr lang="es-CL" dirty="0"/>
                    </a:p>
                  </a:txBody>
                  <a:tcPr anchor="ctr"/>
                </a:tc>
                <a:tc>
                  <a:txBody>
                    <a:bodyPr/>
                    <a:lstStyle/>
                    <a:p>
                      <a:pPr algn="ctr"/>
                      <a:endParaRPr lang="es-CL" dirty="0"/>
                    </a:p>
                  </a:txBody>
                  <a:tcPr anchor="ctr"/>
                </a:tc>
                <a:extLst>
                  <a:ext uri="{0D108BD9-81ED-4DB2-BD59-A6C34878D82A}">
                    <a16:rowId xmlns:a16="http://schemas.microsoft.com/office/drawing/2014/main" val="3991504601"/>
                  </a:ext>
                </a:extLst>
              </a:tr>
              <a:tr h="656536">
                <a:tc>
                  <a:txBody>
                    <a:bodyPr/>
                    <a:lstStyle/>
                    <a:p>
                      <a:pPr algn="ctr"/>
                      <a:endParaRPr lang="es-CL"/>
                    </a:p>
                  </a:txBody>
                  <a:tcPr anchor="ctr"/>
                </a:tc>
                <a:tc>
                  <a:txBody>
                    <a:bodyPr/>
                    <a:lstStyle/>
                    <a:p>
                      <a:pPr algn="ctr"/>
                      <a:endParaRPr lang="es-CL"/>
                    </a:p>
                  </a:txBody>
                  <a:tcPr anchor="ctr"/>
                </a:tc>
                <a:tc>
                  <a:txBody>
                    <a:bodyPr/>
                    <a:lstStyle/>
                    <a:p>
                      <a:pPr algn="ctr"/>
                      <a:endParaRPr lang="es-CL"/>
                    </a:p>
                  </a:txBody>
                  <a:tcPr anchor="ctr"/>
                </a:tc>
                <a:tc>
                  <a:txBody>
                    <a:bodyPr/>
                    <a:lstStyle/>
                    <a:p>
                      <a:pPr algn="ctr"/>
                      <a:endParaRPr lang="es-CL"/>
                    </a:p>
                  </a:txBody>
                  <a:tcPr anchor="ctr"/>
                </a:tc>
                <a:tc>
                  <a:txBody>
                    <a:bodyPr/>
                    <a:lstStyle/>
                    <a:p>
                      <a:pPr algn="ctr"/>
                      <a:endParaRPr lang="es-CL"/>
                    </a:p>
                  </a:txBody>
                  <a:tcPr anchor="ctr"/>
                </a:tc>
                <a:tc>
                  <a:txBody>
                    <a:bodyPr/>
                    <a:lstStyle/>
                    <a:p>
                      <a:pPr algn="ctr"/>
                      <a:endParaRPr lang="es-CL" dirty="0"/>
                    </a:p>
                  </a:txBody>
                  <a:tcPr anchor="ctr"/>
                </a:tc>
                <a:extLst>
                  <a:ext uri="{0D108BD9-81ED-4DB2-BD59-A6C34878D82A}">
                    <a16:rowId xmlns:a16="http://schemas.microsoft.com/office/drawing/2014/main" val="2060366533"/>
                  </a:ext>
                </a:extLst>
              </a:tr>
              <a:tr h="656536">
                <a:tc>
                  <a:txBody>
                    <a:bodyPr/>
                    <a:lstStyle/>
                    <a:p>
                      <a:pPr algn="ctr"/>
                      <a:endParaRPr lang="es-CL"/>
                    </a:p>
                  </a:txBody>
                  <a:tcPr anchor="ctr"/>
                </a:tc>
                <a:tc>
                  <a:txBody>
                    <a:bodyPr/>
                    <a:lstStyle/>
                    <a:p>
                      <a:pPr algn="ctr"/>
                      <a:endParaRPr lang="es-CL"/>
                    </a:p>
                  </a:txBody>
                  <a:tcPr anchor="ctr"/>
                </a:tc>
                <a:tc>
                  <a:txBody>
                    <a:bodyPr/>
                    <a:lstStyle/>
                    <a:p>
                      <a:pPr algn="ctr"/>
                      <a:endParaRPr lang="es-CL"/>
                    </a:p>
                  </a:txBody>
                  <a:tcPr anchor="ctr"/>
                </a:tc>
                <a:tc>
                  <a:txBody>
                    <a:bodyPr/>
                    <a:lstStyle/>
                    <a:p>
                      <a:pPr algn="ctr"/>
                      <a:endParaRPr lang="es-CL"/>
                    </a:p>
                  </a:txBody>
                  <a:tcPr anchor="ctr"/>
                </a:tc>
                <a:tc>
                  <a:txBody>
                    <a:bodyPr/>
                    <a:lstStyle/>
                    <a:p>
                      <a:pPr algn="ctr"/>
                      <a:endParaRPr lang="es-CL"/>
                    </a:p>
                  </a:txBody>
                  <a:tcPr anchor="ctr"/>
                </a:tc>
                <a:tc>
                  <a:txBody>
                    <a:bodyPr/>
                    <a:lstStyle/>
                    <a:p>
                      <a:pPr algn="ctr"/>
                      <a:endParaRPr lang="es-CL" dirty="0"/>
                    </a:p>
                  </a:txBody>
                  <a:tcPr anchor="ctr"/>
                </a:tc>
                <a:extLst>
                  <a:ext uri="{0D108BD9-81ED-4DB2-BD59-A6C34878D82A}">
                    <a16:rowId xmlns:a16="http://schemas.microsoft.com/office/drawing/2014/main" val="1160694757"/>
                  </a:ext>
                </a:extLst>
              </a:tr>
            </a:tbl>
          </a:graphicData>
        </a:graphic>
      </p:graphicFrame>
      <p:sp>
        <p:nvSpPr>
          <p:cNvPr id="11" name="CuadroTexto 10">
            <a:extLst>
              <a:ext uri="{FF2B5EF4-FFF2-40B4-BE49-F238E27FC236}">
                <a16:creationId xmlns:a16="http://schemas.microsoft.com/office/drawing/2014/main" id="{F565BC08-B2BB-1ECB-6D9A-DA6E6048DB8F}"/>
              </a:ext>
            </a:extLst>
          </p:cNvPr>
          <p:cNvSpPr txBox="1"/>
          <p:nvPr/>
        </p:nvSpPr>
        <p:spPr>
          <a:xfrm>
            <a:off x="8904514" y="2296886"/>
            <a:ext cx="2379182" cy="1477328"/>
          </a:xfrm>
          <a:prstGeom prst="rect">
            <a:avLst/>
          </a:prstGeom>
          <a:noFill/>
        </p:spPr>
        <p:txBody>
          <a:bodyPr wrap="square" rtlCol="0">
            <a:spAutoFit/>
          </a:bodyPr>
          <a:lstStyle/>
          <a:p>
            <a:r>
              <a:rPr lang="es-MX" dirty="0"/>
              <a:t>En el siguiente enlace se dejan los script de creación de las tablas e inserción de los datos </a:t>
            </a:r>
            <a:r>
              <a:rPr lang="es-MX" dirty="0">
                <a:sym typeface="Wingdings" panose="05000000000000000000" pitchFamily="2" charset="2"/>
              </a:rPr>
              <a:t></a:t>
            </a:r>
            <a:endParaRPr lang="es-CL" dirty="0"/>
          </a:p>
        </p:txBody>
      </p:sp>
    </p:spTree>
    <p:extLst>
      <p:ext uri="{BB962C8B-B14F-4D97-AF65-F5344CB8AC3E}">
        <p14:creationId xmlns:p14="http://schemas.microsoft.com/office/powerpoint/2010/main" val="4603997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684DFBC-146D-F5D7-4F03-4EC3D48F7475}"/>
              </a:ext>
            </a:extLst>
          </p:cNvPr>
          <p:cNvGraphicFramePr>
            <a:graphicFrameLocks noChangeAspect="1"/>
          </p:cNvGraphicFramePr>
          <p:nvPr>
            <p:custDataLst>
              <p:tags r:id="rId1"/>
            </p:custDataLst>
            <p:extLst>
              <p:ext uri="{D42A27DB-BD31-4B8C-83A1-F6EECF244321}">
                <p14:modId xmlns:p14="http://schemas.microsoft.com/office/powerpoint/2010/main" val="22724494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95" imgH="396" progId="TCLayout.ActiveDocument.1">
                  <p:embed/>
                </p:oleObj>
              </mc:Choice>
              <mc:Fallback>
                <p:oleObj name="Diapositiva de think-cell" r:id="rId3" imgW="395" imgH="396" progId="TCLayout.ActiveDocument.1">
                  <p:embed/>
                  <p:pic>
                    <p:nvPicPr>
                      <p:cNvPr id="4" name="think-cell data - do not delete" hidden="1">
                        <a:extLst>
                          <a:ext uri="{FF2B5EF4-FFF2-40B4-BE49-F238E27FC236}">
                            <a16:creationId xmlns:a16="http://schemas.microsoft.com/office/drawing/2014/main" id="{D684DFBC-146D-F5D7-4F03-4EC3D48F747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useBgFill="1">
        <p:nvSpPr>
          <p:cNvPr id="8" name="Rectangle 7">
            <a:extLst>
              <a:ext uri="{FF2B5EF4-FFF2-40B4-BE49-F238E27FC236}">
                <a16:creationId xmlns:a16="http://schemas.microsoft.com/office/drawing/2014/main" id="{DAF1966E-FD40-4A4A-B61B-C4DF7FA05F0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10" name="Rectangle 9">
            <a:extLst>
              <a:ext uri="{FF2B5EF4-FFF2-40B4-BE49-F238E27FC236}">
                <a16:creationId xmlns:a16="http://schemas.microsoft.com/office/drawing/2014/main" id="{047BFA19-D45E-416B-A404-7AF2F3F2701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58209" y="0"/>
            <a:ext cx="11167447" cy="2018806"/>
          </a:xfrm>
          <a:prstGeom prst="rect">
            <a:avLst/>
          </a:prstGeom>
          <a:ln w="9525">
            <a:solidFill>
              <a:srgbClr val="E1E1E1"/>
            </a:solidFill>
          </a:ln>
          <a:effectLst>
            <a:outerShdw blurRad="50800" dist="38100" dir="2700000" algn="tl" rotWithShape="0">
              <a:schemeClr val="bg1">
                <a:lumMod val="85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useBgFill="1">
        <p:nvSpPr>
          <p:cNvPr id="12" name="Rectangle 11">
            <a:extLst>
              <a:ext uri="{FF2B5EF4-FFF2-40B4-BE49-F238E27FC236}">
                <a16:creationId xmlns:a16="http://schemas.microsoft.com/office/drawing/2014/main" id="{8E0105E7-23DB-4CF2-8258-FF47C7620F6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66928" y="0"/>
            <a:ext cx="11155680" cy="2011680"/>
          </a:xfrm>
          <a:prstGeom prst="rect">
            <a:avLst/>
          </a:prstGeom>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ítulo 1">
            <a:extLst>
              <a:ext uri="{FF2B5EF4-FFF2-40B4-BE49-F238E27FC236}">
                <a16:creationId xmlns:a16="http://schemas.microsoft.com/office/drawing/2014/main" id="{28547C12-267B-A48E-F359-67B2206F55CC}"/>
              </a:ext>
            </a:extLst>
          </p:cNvPr>
          <p:cNvSpPr>
            <a:spLocks noGrp="1"/>
          </p:cNvSpPr>
          <p:nvPr>
            <p:ph type="title"/>
          </p:nvPr>
        </p:nvSpPr>
        <p:spPr>
          <a:xfrm>
            <a:off x="1115568" y="548640"/>
            <a:ext cx="10168128" cy="1179576"/>
          </a:xfrm>
        </p:spPr>
        <p:txBody>
          <a:bodyPr vert="horz">
            <a:normAutofit/>
          </a:bodyPr>
          <a:lstStyle/>
          <a:p>
            <a:r>
              <a:rPr lang="es-MX" sz="4000" dirty="0"/>
              <a:t>Funcionalidades</a:t>
            </a:r>
            <a:endParaRPr lang="es-CL" sz="4000" dirty="0"/>
          </a:p>
        </p:txBody>
      </p:sp>
      <p:sp>
        <p:nvSpPr>
          <p:cNvPr id="14" name="Rectangle 13">
            <a:extLst>
              <a:ext uri="{FF2B5EF4-FFF2-40B4-BE49-F238E27FC236}">
                <a16:creationId xmlns:a16="http://schemas.microsoft.com/office/drawing/2014/main" id="{074B4F7D-14B2-478B-8BF5-01E4E0C5D26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98834" y="758952"/>
            <a:ext cx="128016" cy="70408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pic>
        <p:nvPicPr>
          <p:cNvPr id="5" name="Imagen 4">
            <a:extLst>
              <a:ext uri="{FF2B5EF4-FFF2-40B4-BE49-F238E27FC236}">
                <a16:creationId xmlns:a16="http://schemas.microsoft.com/office/drawing/2014/main" id="{72511E89-A7B8-C94E-2BAA-41A8157EF7E7}"/>
              </a:ext>
            </a:extLst>
          </p:cNvPr>
          <p:cNvPicPr>
            <a:picLocks noChangeAspect="1"/>
          </p:cNvPicPr>
          <p:nvPr/>
        </p:nvPicPr>
        <p:blipFill>
          <a:blip r:embed="rId5"/>
          <a:stretch>
            <a:fillRect/>
          </a:stretch>
        </p:blipFill>
        <p:spPr>
          <a:xfrm>
            <a:off x="205986" y="114387"/>
            <a:ext cx="996196" cy="239175"/>
          </a:xfrm>
          <a:prstGeom prst="rect">
            <a:avLst/>
          </a:prstGeom>
        </p:spPr>
      </p:pic>
      <p:pic>
        <p:nvPicPr>
          <p:cNvPr id="6" name="Imagen 5">
            <a:extLst>
              <a:ext uri="{FF2B5EF4-FFF2-40B4-BE49-F238E27FC236}">
                <a16:creationId xmlns:a16="http://schemas.microsoft.com/office/drawing/2014/main" id="{B955850C-7C0F-327C-1700-6F40EF4DAEF6}"/>
              </a:ext>
            </a:extLst>
          </p:cNvPr>
          <p:cNvPicPr>
            <a:picLocks noChangeAspect="1"/>
          </p:cNvPicPr>
          <p:nvPr/>
        </p:nvPicPr>
        <p:blipFill>
          <a:blip r:embed="rId6"/>
          <a:stretch>
            <a:fillRect/>
          </a:stretch>
        </p:blipFill>
        <p:spPr>
          <a:xfrm>
            <a:off x="1345543" y="-7126"/>
            <a:ext cx="1068461" cy="375367"/>
          </a:xfrm>
          <a:prstGeom prst="rect">
            <a:avLst/>
          </a:prstGeom>
        </p:spPr>
      </p:pic>
      <p:sp>
        <p:nvSpPr>
          <p:cNvPr id="15" name="AutoShape 2" descr="A well-designed Entity-Relationship Diagram (ERD) representing a database with the following entities and their relationships: &#10;&#10;Entities:&#10;1. **Vehicles**: Attributes - ID_Vehículo (PK), Marca, Modelo, Año, Concesionario, Precio_Lista, Gasto_Reparacion, Patente, Combustible, Cilindrada.&#10;2. **Gestión de Taller**: Attributes - id_taller (PK), Patente, Gasto_Reparación, Sucursal, Taller, Zona, Tipo_Reparación, Día_Ingreso, Fecha_Salida, Fecha_Salida_Estimada, Asesor.&#10;3. **Ventas**: Attributes - id_venta (PK), Empresa, Factura, Fecha_Factura, Patente, Marca, Modelo, Rut_Cliente, Nombre_Cliente, Estado_Facturación, Nombre_Vendedor, Valor_Factura, Valor_Compra, Gastos_Reparación, Margen.&#10;4. **Gastos Reparación**: Attributes - id_vale (PK), Número de Albarán, Gasto_Reparación, Patente, Sucursal, Taller, Zona.&#10;5. **Inspección**: Attributes - id_inspección (PK), Valor_Tasación, Estado_Reparación, Patente, Demérito, Sucursal, Nombre_Proveedor, Zona.&#10;&#10;Relationships:&#10;- **Vehicles** to **Gestión de Taller**: One-to-Many&#10;- **Vehicles** to **Ventas**: One-to-Many&#10;- **Vehicles** to **Gastos Reparación**: One-to-Many&#10;- **Vehicles** to **Inspección**: One-to-Many&#10;&#10;The ERD should be clear, visually appealing, and easy to understand. Use colors to differentiate between entities and relationships, and ensure that the primary keys and foreign keys are well marked.">
            <a:extLst>
              <a:ext uri="{FF2B5EF4-FFF2-40B4-BE49-F238E27FC236}">
                <a16:creationId xmlns:a16="http://schemas.microsoft.com/office/drawing/2014/main" id="{70BD6386-E510-30ED-2591-65DC0DE8F33B}"/>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CL"/>
          </a:p>
        </p:txBody>
      </p:sp>
      <p:sp>
        <p:nvSpPr>
          <p:cNvPr id="3" name="CuadroTexto 2">
            <a:extLst>
              <a:ext uri="{FF2B5EF4-FFF2-40B4-BE49-F238E27FC236}">
                <a16:creationId xmlns:a16="http://schemas.microsoft.com/office/drawing/2014/main" id="{188684AF-1DCF-4075-B92A-F389EEF76F32}"/>
              </a:ext>
            </a:extLst>
          </p:cNvPr>
          <p:cNvSpPr txBox="1"/>
          <p:nvPr/>
        </p:nvSpPr>
        <p:spPr>
          <a:xfrm>
            <a:off x="1115568" y="2449286"/>
            <a:ext cx="8431203" cy="4247317"/>
          </a:xfrm>
          <a:prstGeom prst="rect">
            <a:avLst/>
          </a:prstGeom>
          <a:noFill/>
        </p:spPr>
        <p:txBody>
          <a:bodyPr wrap="square" rtlCol="0">
            <a:spAutoFit/>
          </a:bodyPr>
          <a:lstStyle/>
          <a:p>
            <a:r>
              <a:rPr lang="es-CL" dirty="0"/>
              <a:t>Vistas:</a:t>
            </a:r>
            <a:br>
              <a:rPr lang="es-CL" dirty="0"/>
            </a:br>
            <a:r>
              <a:rPr lang="es-CL" dirty="0"/>
              <a:t>Funciones:</a:t>
            </a:r>
            <a:br>
              <a:rPr lang="es-CL" dirty="0"/>
            </a:br>
            <a:r>
              <a:rPr lang="es-CL" dirty="0" err="1"/>
              <a:t>Stored</a:t>
            </a:r>
            <a:r>
              <a:rPr lang="es-CL" dirty="0"/>
              <a:t> </a:t>
            </a:r>
            <a:r>
              <a:rPr lang="es-CL" dirty="0" err="1"/>
              <a:t>Procedures</a:t>
            </a:r>
            <a:br>
              <a:rPr lang="es-CL" dirty="0"/>
            </a:br>
            <a:r>
              <a:rPr lang="es-CL" dirty="0" err="1"/>
              <a:t>Tiggers</a:t>
            </a:r>
            <a:r>
              <a:rPr lang="es-CL" dirty="0"/>
              <a:t>:</a:t>
            </a:r>
            <a:br>
              <a:rPr lang="es-CL" dirty="0"/>
            </a:br>
            <a:endParaRPr lang="es-CL" dirty="0"/>
          </a:p>
          <a:p>
            <a:endParaRPr lang="es-CL" dirty="0"/>
          </a:p>
          <a:p>
            <a:endParaRPr lang="es-CL" dirty="0"/>
          </a:p>
          <a:p>
            <a:endParaRPr lang="es-CL" dirty="0"/>
          </a:p>
          <a:p>
            <a:endParaRPr lang="es-CL" dirty="0"/>
          </a:p>
          <a:p>
            <a:endParaRPr lang="es-CL" dirty="0"/>
          </a:p>
          <a:p>
            <a:endParaRPr lang="es-CL" dirty="0"/>
          </a:p>
          <a:p>
            <a:br>
              <a:rPr lang="es-CL" dirty="0"/>
            </a:br>
            <a:r>
              <a:rPr lang="es-MX" dirty="0"/>
              <a:t>A continuación, se deja el enlace de la carpeta de Google Drive la cual contiene los archivos .</a:t>
            </a:r>
            <a:r>
              <a:rPr lang="es-MX" dirty="0" err="1"/>
              <a:t>sql</a:t>
            </a:r>
            <a:r>
              <a:rPr lang="es-MX" dirty="0"/>
              <a:t> de creaciones de Vistas, Funciones, </a:t>
            </a:r>
            <a:r>
              <a:rPr lang="es-MX" dirty="0" err="1"/>
              <a:t>Stored</a:t>
            </a:r>
            <a:r>
              <a:rPr lang="es-MX" dirty="0"/>
              <a:t> </a:t>
            </a:r>
            <a:r>
              <a:rPr lang="es-MX" dirty="0" err="1"/>
              <a:t>procedures</a:t>
            </a:r>
            <a:r>
              <a:rPr lang="es-MX" dirty="0"/>
              <a:t> y </a:t>
            </a:r>
            <a:r>
              <a:rPr lang="es-MX" dirty="0" err="1"/>
              <a:t>Triggers</a:t>
            </a:r>
            <a:r>
              <a:rPr lang="es-MX" dirty="0"/>
              <a:t>. 👉________________________________________________________________________</a:t>
            </a:r>
            <a:endParaRPr lang="es-CL" dirty="0"/>
          </a:p>
        </p:txBody>
      </p:sp>
      <p:graphicFrame>
        <p:nvGraphicFramePr>
          <p:cNvPr id="7" name="Tabla 6">
            <a:extLst>
              <a:ext uri="{FF2B5EF4-FFF2-40B4-BE49-F238E27FC236}">
                <a16:creationId xmlns:a16="http://schemas.microsoft.com/office/drawing/2014/main" id="{23033B51-0A3A-CB33-0B20-71BDE293F63D}"/>
              </a:ext>
            </a:extLst>
          </p:cNvPr>
          <p:cNvGraphicFramePr>
            <a:graphicFrameLocks noGrp="1"/>
          </p:cNvGraphicFramePr>
          <p:nvPr>
            <p:extLst>
              <p:ext uri="{D42A27DB-BD31-4B8C-83A1-F6EECF244321}">
                <p14:modId xmlns:p14="http://schemas.microsoft.com/office/powerpoint/2010/main" val="3510872724"/>
              </p:ext>
            </p:extLst>
          </p:nvPr>
        </p:nvGraphicFramePr>
        <p:xfrm>
          <a:off x="1115568" y="3882143"/>
          <a:ext cx="8128000" cy="1381760"/>
        </p:xfrm>
        <a:graphic>
          <a:graphicData uri="http://schemas.openxmlformats.org/drawingml/2006/table">
            <a:tbl>
              <a:tblPr firstRow="1" bandRow="1">
                <a:tableStyleId>{5C22544A-7EE6-4342-B048-85BDC9FD1C3A}</a:tableStyleId>
              </a:tblPr>
              <a:tblGrid>
                <a:gridCol w="1625600">
                  <a:extLst>
                    <a:ext uri="{9D8B030D-6E8A-4147-A177-3AD203B41FA5}">
                      <a16:colId xmlns:a16="http://schemas.microsoft.com/office/drawing/2014/main" val="3979901052"/>
                    </a:ext>
                  </a:extLst>
                </a:gridCol>
                <a:gridCol w="1625600">
                  <a:extLst>
                    <a:ext uri="{9D8B030D-6E8A-4147-A177-3AD203B41FA5}">
                      <a16:colId xmlns:a16="http://schemas.microsoft.com/office/drawing/2014/main" val="1993071070"/>
                    </a:ext>
                  </a:extLst>
                </a:gridCol>
                <a:gridCol w="1625600">
                  <a:extLst>
                    <a:ext uri="{9D8B030D-6E8A-4147-A177-3AD203B41FA5}">
                      <a16:colId xmlns:a16="http://schemas.microsoft.com/office/drawing/2014/main" val="2394883324"/>
                    </a:ext>
                  </a:extLst>
                </a:gridCol>
                <a:gridCol w="1625600">
                  <a:extLst>
                    <a:ext uri="{9D8B030D-6E8A-4147-A177-3AD203B41FA5}">
                      <a16:colId xmlns:a16="http://schemas.microsoft.com/office/drawing/2014/main" val="2224285248"/>
                    </a:ext>
                  </a:extLst>
                </a:gridCol>
                <a:gridCol w="1625600">
                  <a:extLst>
                    <a:ext uri="{9D8B030D-6E8A-4147-A177-3AD203B41FA5}">
                      <a16:colId xmlns:a16="http://schemas.microsoft.com/office/drawing/2014/main" val="2105172797"/>
                    </a:ext>
                  </a:extLst>
                </a:gridCol>
              </a:tblGrid>
              <a:tr h="370840">
                <a:tc>
                  <a:txBody>
                    <a:bodyPr/>
                    <a:lstStyle/>
                    <a:p>
                      <a:r>
                        <a:rPr lang="es-CL" dirty="0" err="1"/>
                        <a:t>Trigger</a:t>
                      </a:r>
                      <a:endParaRPr lang="es-CL" dirty="0"/>
                    </a:p>
                  </a:txBody>
                  <a:tcPr/>
                </a:tc>
                <a:tc>
                  <a:txBody>
                    <a:bodyPr/>
                    <a:lstStyle/>
                    <a:p>
                      <a:r>
                        <a:rPr lang="es-CL" dirty="0"/>
                        <a:t>Tabla</a:t>
                      </a:r>
                    </a:p>
                  </a:txBody>
                  <a:tcPr/>
                </a:tc>
                <a:tc>
                  <a:txBody>
                    <a:bodyPr/>
                    <a:lstStyle/>
                    <a:p>
                      <a:r>
                        <a:rPr lang="es-CL" dirty="0"/>
                        <a:t>Acción</a:t>
                      </a:r>
                    </a:p>
                  </a:txBody>
                  <a:tcPr/>
                </a:tc>
                <a:tc>
                  <a:txBody>
                    <a:bodyPr/>
                    <a:lstStyle/>
                    <a:p>
                      <a:r>
                        <a:rPr lang="es-CL" dirty="0"/>
                        <a:t>Tabla Nuevo Registro</a:t>
                      </a:r>
                    </a:p>
                  </a:txBody>
                  <a:tcPr/>
                </a:tc>
                <a:tc>
                  <a:txBody>
                    <a:bodyPr/>
                    <a:lstStyle/>
                    <a:p>
                      <a:r>
                        <a:rPr lang="es-CL" dirty="0"/>
                        <a:t>Descripción</a:t>
                      </a:r>
                    </a:p>
                  </a:txBody>
                  <a:tcPr/>
                </a:tc>
                <a:extLst>
                  <a:ext uri="{0D108BD9-81ED-4DB2-BD59-A6C34878D82A}">
                    <a16:rowId xmlns:a16="http://schemas.microsoft.com/office/drawing/2014/main" val="2746063227"/>
                  </a:ext>
                </a:extLst>
              </a:tr>
              <a:tr h="370840">
                <a:tc>
                  <a:txBody>
                    <a:bodyPr/>
                    <a:lstStyle/>
                    <a:p>
                      <a:endParaRPr lang="es-CL"/>
                    </a:p>
                  </a:txBody>
                  <a:tcPr/>
                </a:tc>
                <a:tc>
                  <a:txBody>
                    <a:bodyPr/>
                    <a:lstStyle/>
                    <a:p>
                      <a:endParaRPr lang="es-CL"/>
                    </a:p>
                  </a:txBody>
                  <a:tcPr/>
                </a:tc>
                <a:tc>
                  <a:txBody>
                    <a:bodyPr/>
                    <a:lstStyle/>
                    <a:p>
                      <a:endParaRPr lang="es-CL"/>
                    </a:p>
                  </a:txBody>
                  <a:tcPr/>
                </a:tc>
                <a:tc>
                  <a:txBody>
                    <a:bodyPr/>
                    <a:lstStyle/>
                    <a:p>
                      <a:endParaRPr lang="es-CL"/>
                    </a:p>
                  </a:txBody>
                  <a:tcPr/>
                </a:tc>
                <a:tc>
                  <a:txBody>
                    <a:bodyPr/>
                    <a:lstStyle/>
                    <a:p>
                      <a:endParaRPr lang="es-CL"/>
                    </a:p>
                  </a:txBody>
                  <a:tcPr/>
                </a:tc>
                <a:extLst>
                  <a:ext uri="{0D108BD9-81ED-4DB2-BD59-A6C34878D82A}">
                    <a16:rowId xmlns:a16="http://schemas.microsoft.com/office/drawing/2014/main" val="30941326"/>
                  </a:ext>
                </a:extLst>
              </a:tr>
              <a:tr h="370840">
                <a:tc>
                  <a:txBody>
                    <a:bodyPr/>
                    <a:lstStyle/>
                    <a:p>
                      <a:endParaRPr lang="es-CL"/>
                    </a:p>
                  </a:txBody>
                  <a:tcPr/>
                </a:tc>
                <a:tc>
                  <a:txBody>
                    <a:bodyPr/>
                    <a:lstStyle/>
                    <a:p>
                      <a:endParaRPr lang="es-CL" dirty="0"/>
                    </a:p>
                  </a:txBody>
                  <a:tcPr/>
                </a:tc>
                <a:tc>
                  <a:txBody>
                    <a:bodyPr/>
                    <a:lstStyle/>
                    <a:p>
                      <a:endParaRPr lang="es-CL"/>
                    </a:p>
                  </a:txBody>
                  <a:tcPr/>
                </a:tc>
                <a:tc>
                  <a:txBody>
                    <a:bodyPr/>
                    <a:lstStyle/>
                    <a:p>
                      <a:endParaRPr lang="es-CL" dirty="0"/>
                    </a:p>
                  </a:txBody>
                  <a:tcPr/>
                </a:tc>
                <a:tc>
                  <a:txBody>
                    <a:bodyPr/>
                    <a:lstStyle/>
                    <a:p>
                      <a:endParaRPr lang="es-CL" dirty="0"/>
                    </a:p>
                  </a:txBody>
                  <a:tcPr/>
                </a:tc>
                <a:extLst>
                  <a:ext uri="{0D108BD9-81ED-4DB2-BD59-A6C34878D82A}">
                    <a16:rowId xmlns:a16="http://schemas.microsoft.com/office/drawing/2014/main" val="217009868"/>
                  </a:ext>
                </a:extLst>
              </a:tr>
            </a:tbl>
          </a:graphicData>
        </a:graphic>
      </p:graphicFrame>
    </p:spTree>
    <p:extLst>
      <p:ext uri="{BB962C8B-B14F-4D97-AF65-F5344CB8AC3E}">
        <p14:creationId xmlns:p14="http://schemas.microsoft.com/office/powerpoint/2010/main" val="57973722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684DFBC-146D-F5D7-4F03-4EC3D48F7475}"/>
              </a:ext>
            </a:extLst>
          </p:cNvPr>
          <p:cNvGraphicFramePr>
            <a:graphicFrameLocks noChangeAspect="1"/>
          </p:cNvGraphicFramePr>
          <p:nvPr>
            <p:custDataLst>
              <p:tags r:id="rId1"/>
            </p:custDataLst>
            <p:extLst>
              <p:ext uri="{D42A27DB-BD31-4B8C-83A1-F6EECF244321}">
                <p14:modId xmlns:p14="http://schemas.microsoft.com/office/powerpoint/2010/main" val="14582054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95" imgH="396" progId="TCLayout.ActiveDocument.1">
                  <p:embed/>
                </p:oleObj>
              </mc:Choice>
              <mc:Fallback>
                <p:oleObj name="Diapositiva de think-cell" r:id="rId3" imgW="395" imgH="396" progId="TCLayout.ActiveDocument.1">
                  <p:embed/>
                  <p:pic>
                    <p:nvPicPr>
                      <p:cNvPr id="4" name="think-cell data - do not delete" hidden="1">
                        <a:extLst>
                          <a:ext uri="{FF2B5EF4-FFF2-40B4-BE49-F238E27FC236}">
                            <a16:creationId xmlns:a16="http://schemas.microsoft.com/office/drawing/2014/main" id="{D684DFBC-146D-F5D7-4F03-4EC3D48F747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useBgFill="1">
        <p:nvSpPr>
          <p:cNvPr id="8" name="Rectangle 7">
            <a:extLst>
              <a:ext uri="{FF2B5EF4-FFF2-40B4-BE49-F238E27FC236}">
                <a16:creationId xmlns:a16="http://schemas.microsoft.com/office/drawing/2014/main" id="{DAF1966E-FD40-4A4A-B61B-C4DF7FA05F0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10" name="Rectangle 9">
            <a:extLst>
              <a:ext uri="{FF2B5EF4-FFF2-40B4-BE49-F238E27FC236}">
                <a16:creationId xmlns:a16="http://schemas.microsoft.com/office/drawing/2014/main" id="{047BFA19-D45E-416B-A404-7AF2F3F2701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58209" y="0"/>
            <a:ext cx="11167447" cy="2018806"/>
          </a:xfrm>
          <a:prstGeom prst="rect">
            <a:avLst/>
          </a:prstGeom>
          <a:ln w="9525">
            <a:solidFill>
              <a:srgbClr val="E1E1E1"/>
            </a:solidFill>
          </a:ln>
          <a:effectLst>
            <a:outerShdw blurRad="50800" dist="38100" dir="2700000" algn="tl" rotWithShape="0">
              <a:schemeClr val="bg1">
                <a:lumMod val="85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useBgFill="1">
        <p:nvSpPr>
          <p:cNvPr id="12" name="Rectangle 11">
            <a:extLst>
              <a:ext uri="{FF2B5EF4-FFF2-40B4-BE49-F238E27FC236}">
                <a16:creationId xmlns:a16="http://schemas.microsoft.com/office/drawing/2014/main" id="{8E0105E7-23DB-4CF2-8258-FF47C7620F6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66928" y="0"/>
            <a:ext cx="11155680" cy="2011680"/>
          </a:xfrm>
          <a:prstGeom prst="rect">
            <a:avLst/>
          </a:prstGeom>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ítulo 1">
            <a:extLst>
              <a:ext uri="{FF2B5EF4-FFF2-40B4-BE49-F238E27FC236}">
                <a16:creationId xmlns:a16="http://schemas.microsoft.com/office/drawing/2014/main" id="{28547C12-267B-A48E-F359-67B2206F55CC}"/>
              </a:ext>
            </a:extLst>
          </p:cNvPr>
          <p:cNvSpPr>
            <a:spLocks noGrp="1"/>
          </p:cNvSpPr>
          <p:nvPr>
            <p:ph type="title"/>
          </p:nvPr>
        </p:nvSpPr>
        <p:spPr>
          <a:xfrm>
            <a:off x="1115568" y="548640"/>
            <a:ext cx="10168128" cy="1179576"/>
          </a:xfrm>
        </p:spPr>
        <p:txBody>
          <a:bodyPr vert="horz">
            <a:normAutofit/>
          </a:bodyPr>
          <a:lstStyle/>
          <a:p>
            <a:r>
              <a:rPr lang="es-MX" sz="4000" dirty="0"/>
              <a:t>Herramientas utilizadas</a:t>
            </a:r>
            <a:endParaRPr lang="es-CL" sz="4000" dirty="0"/>
          </a:p>
        </p:txBody>
      </p:sp>
      <p:sp>
        <p:nvSpPr>
          <p:cNvPr id="14" name="Rectangle 13">
            <a:extLst>
              <a:ext uri="{FF2B5EF4-FFF2-40B4-BE49-F238E27FC236}">
                <a16:creationId xmlns:a16="http://schemas.microsoft.com/office/drawing/2014/main" id="{074B4F7D-14B2-478B-8BF5-01E4E0C5D26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98834" y="758952"/>
            <a:ext cx="128016" cy="70408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pic>
        <p:nvPicPr>
          <p:cNvPr id="5" name="Imagen 4">
            <a:extLst>
              <a:ext uri="{FF2B5EF4-FFF2-40B4-BE49-F238E27FC236}">
                <a16:creationId xmlns:a16="http://schemas.microsoft.com/office/drawing/2014/main" id="{72511E89-A7B8-C94E-2BAA-41A8157EF7E7}"/>
              </a:ext>
            </a:extLst>
          </p:cNvPr>
          <p:cNvPicPr>
            <a:picLocks noChangeAspect="1"/>
          </p:cNvPicPr>
          <p:nvPr/>
        </p:nvPicPr>
        <p:blipFill>
          <a:blip r:embed="rId5"/>
          <a:stretch>
            <a:fillRect/>
          </a:stretch>
        </p:blipFill>
        <p:spPr>
          <a:xfrm>
            <a:off x="205986" y="114387"/>
            <a:ext cx="996196" cy="239175"/>
          </a:xfrm>
          <a:prstGeom prst="rect">
            <a:avLst/>
          </a:prstGeom>
        </p:spPr>
      </p:pic>
      <p:pic>
        <p:nvPicPr>
          <p:cNvPr id="6" name="Imagen 5">
            <a:extLst>
              <a:ext uri="{FF2B5EF4-FFF2-40B4-BE49-F238E27FC236}">
                <a16:creationId xmlns:a16="http://schemas.microsoft.com/office/drawing/2014/main" id="{B955850C-7C0F-327C-1700-6F40EF4DAEF6}"/>
              </a:ext>
            </a:extLst>
          </p:cNvPr>
          <p:cNvPicPr>
            <a:picLocks noChangeAspect="1"/>
          </p:cNvPicPr>
          <p:nvPr/>
        </p:nvPicPr>
        <p:blipFill>
          <a:blip r:embed="rId6"/>
          <a:stretch>
            <a:fillRect/>
          </a:stretch>
        </p:blipFill>
        <p:spPr>
          <a:xfrm>
            <a:off x="1345543" y="-7126"/>
            <a:ext cx="1068461" cy="375367"/>
          </a:xfrm>
          <a:prstGeom prst="rect">
            <a:avLst/>
          </a:prstGeom>
        </p:spPr>
      </p:pic>
      <p:sp>
        <p:nvSpPr>
          <p:cNvPr id="15" name="AutoShape 2" descr="A well-designed Entity-Relationship Diagram (ERD) representing a database with the following entities and their relationships: &#10;&#10;Entities:&#10;1. **Vehicles**: Attributes - ID_Vehículo (PK), Marca, Modelo, Año, Concesionario, Precio_Lista, Gasto_Reparacion, Patente, Combustible, Cilindrada.&#10;2. **Gestión de Taller**: Attributes - id_taller (PK), Patente, Gasto_Reparación, Sucursal, Taller, Zona, Tipo_Reparación, Día_Ingreso, Fecha_Salida, Fecha_Salida_Estimada, Asesor.&#10;3. **Ventas**: Attributes - id_venta (PK), Empresa, Factura, Fecha_Factura, Patente, Marca, Modelo, Rut_Cliente, Nombre_Cliente, Estado_Facturación, Nombre_Vendedor, Valor_Factura, Valor_Compra, Gastos_Reparación, Margen.&#10;4. **Gastos Reparación**: Attributes - id_vale (PK), Número de Albarán, Gasto_Reparación, Patente, Sucursal, Taller, Zona.&#10;5. **Inspección**: Attributes - id_inspección (PK), Valor_Tasación, Estado_Reparación, Patente, Demérito, Sucursal, Nombre_Proveedor, Zona.&#10;&#10;Relationships:&#10;- **Vehicles** to **Gestión de Taller**: One-to-Many&#10;- **Vehicles** to **Ventas**: One-to-Many&#10;- **Vehicles** to **Gastos Reparación**: One-to-Many&#10;- **Vehicles** to **Inspección**: One-to-Many&#10;&#10;The ERD should be clear, visually appealing, and easy to understand. Use colors to differentiate between entities and relationships, and ensure that the primary keys and foreign keys are well marked.">
            <a:extLst>
              <a:ext uri="{FF2B5EF4-FFF2-40B4-BE49-F238E27FC236}">
                <a16:creationId xmlns:a16="http://schemas.microsoft.com/office/drawing/2014/main" id="{70BD6386-E510-30ED-2591-65DC0DE8F33B}"/>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CL"/>
          </a:p>
        </p:txBody>
      </p:sp>
      <p:sp>
        <p:nvSpPr>
          <p:cNvPr id="3" name="CuadroTexto 2">
            <a:extLst>
              <a:ext uri="{FF2B5EF4-FFF2-40B4-BE49-F238E27FC236}">
                <a16:creationId xmlns:a16="http://schemas.microsoft.com/office/drawing/2014/main" id="{188684AF-1DCF-4075-B92A-F389EEF76F32}"/>
              </a:ext>
            </a:extLst>
          </p:cNvPr>
          <p:cNvSpPr txBox="1"/>
          <p:nvPr/>
        </p:nvSpPr>
        <p:spPr>
          <a:xfrm>
            <a:off x="1202182" y="2199205"/>
            <a:ext cx="8431203" cy="369332"/>
          </a:xfrm>
          <a:prstGeom prst="rect">
            <a:avLst/>
          </a:prstGeom>
          <a:noFill/>
        </p:spPr>
        <p:txBody>
          <a:bodyPr wrap="square" rtlCol="0">
            <a:spAutoFit/>
          </a:bodyPr>
          <a:lstStyle/>
          <a:p>
            <a:r>
              <a:rPr lang="en-US" dirty="0"/>
              <a:t>My SQL Workbench • Google Sheets • Microsoft Excel •Power Point </a:t>
            </a:r>
            <a:endParaRPr lang="es-CL" dirty="0"/>
          </a:p>
        </p:txBody>
      </p:sp>
    </p:spTree>
    <p:extLst>
      <p:ext uri="{BB962C8B-B14F-4D97-AF65-F5344CB8AC3E}">
        <p14:creationId xmlns:p14="http://schemas.microsoft.com/office/powerpoint/2010/main" val="284372816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 de 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otalTime>582</TotalTime>
  <Words>354</Words>
  <Application>Microsoft Office PowerPoint</Application>
  <PresentationFormat>Panorámica</PresentationFormat>
  <Paragraphs>39</Paragraphs>
  <Slides>8</Slides>
  <Notes>0</Notes>
  <HiddenSlides>0</HiddenSlides>
  <MMClips>0</MMClips>
  <ScaleCrop>false</ScaleCrop>
  <HeadingPairs>
    <vt:vector size="8" baseType="variant">
      <vt:variant>
        <vt:lpstr>Fuentes usadas</vt:lpstr>
      </vt:variant>
      <vt:variant>
        <vt:i4>5</vt:i4>
      </vt:variant>
      <vt:variant>
        <vt:lpstr>Tema</vt:lpstr>
      </vt:variant>
      <vt:variant>
        <vt:i4>1</vt:i4>
      </vt:variant>
      <vt:variant>
        <vt:lpstr>Servidores OLE incrustados</vt:lpstr>
      </vt:variant>
      <vt:variant>
        <vt:i4>1</vt:i4>
      </vt:variant>
      <vt:variant>
        <vt:lpstr>Títulos de diapositiva</vt:lpstr>
      </vt:variant>
      <vt:variant>
        <vt:i4>8</vt:i4>
      </vt:variant>
    </vt:vector>
  </HeadingPairs>
  <TitlesOfParts>
    <vt:vector size="15" baseType="lpstr">
      <vt:lpstr>Aptos</vt:lpstr>
      <vt:lpstr>Aptos Display</vt:lpstr>
      <vt:lpstr>Arial</vt:lpstr>
      <vt:lpstr>Calibri</vt:lpstr>
      <vt:lpstr>Wingdings</vt:lpstr>
      <vt:lpstr>Tema de Office</vt:lpstr>
      <vt:lpstr>Diapositiva de think-cell</vt:lpstr>
      <vt:lpstr>Entrega Proyecto Final SQL Coder House</vt:lpstr>
      <vt:lpstr>Introducción al Modelo de Negocio de Compra y Venta de Vehículos Usados</vt:lpstr>
      <vt:lpstr>Introducción al Modelo de Negocio de Compra y Venta de Vehículos Usados</vt:lpstr>
      <vt:lpstr>Diagrama Entidad Relación</vt:lpstr>
      <vt:lpstr>Modelo Esquemático</vt:lpstr>
      <vt:lpstr>Diagrama de Tablas</vt:lpstr>
      <vt:lpstr>Funcionalidades</vt:lpstr>
      <vt:lpstr>Herramientas utilizada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Pablo Ignacio Aguirre Muñoz</dc:creator>
  <cp:lastModifiedBy>Pablo Ignacio Aguirre Muñoz</cp:lastModifiedBy>
  <cp:revision>2</cp:revision>
  <dcterms:created xsi:type="dcterms:W3CDTF">2024-08-10T13:33:22Z</dcterms:created>
  <dcterms:modified xsi:type="dcterms:W3CDTF">2024-10-26T18:35:44Z</dcterms:modified>
</cp:coreProperties>
</file>